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1" r:id="rId1"/>
  </p:sldMasterIdLst>
  <p:notesMasterIdLst>
    <p:notesMasterId r:id="rId12"/>
  </p:notesMasterIdLst>
  <p:handoutMasterIdLst>
    <p:handoutMasterId r:id="rId13"/>
  </p:handoutMasterIdLst>
  <p:sldIdLst>
    <p:sldId id="639" r:id="rId2"/>
    <p:sldId id="630" r:id="rId3"/>
    <p:sldId id="631" r:id="rId4"/>
    <p:sldId id="356" r:id="rId5"/>
    <p:sldId id="634" r:id="rId6"/>
    <p:sldId id="632" r:id="rId7"/>
    <p:sldId id="635" r:id="rId8"/>
    <p:sldId id="633" r:id="rId9"/>
    <p:sldId id="637" r:id="rId10"/>
    <p:sldId id="629" r:id="rId11"/>
  </p:sldIdLst>
  <p:sldSz cx="9144000" cy="6858000" type="screen4x3"/>
  <p:notesSz cx="6858000" cy="9144000"/>
  <p:custDataLst>
    <p:tags r:id="rId14"/>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3" orient="horz" pos="1207" userDrawn="1">
          <p15:clr>
            <a:srgbClr val="A4A3A4"/>
          </p15:clr>
        </p15:guide>
        <p15:guide id="4" orient="horz" pos="1117" userDrawn="1">
          <p15:clr>
            <a:srgbClr val="A4A3A4"/>
          </p15:clr>
        </p15:guide>
        <p15:guide id="5" pos="288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0AD10"/>
    <a:srgbClr val="FF9933"/>
    <a:srgbClr val="95E616"/>
    <a:srgbClr val="45EAED"/>
    <a:srgbClr val="FFFF00"/>
    <a:srgbClr val="FF8394"/>
    <a:srgbClr val="E3001F"/>
    <a:srgbClr val="68D1F3"/>
    <a:srgbClr val="461063"/>
    <a:srgbClr val="00C27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6215" autoAdjust="0"/>
  </p:normalViewPr>
  <p:slideViewPr>
    <p:cSldViewPr>
      <p:cViewPr varScale="1">
        <p:scale>
          <a:sx n="92" d="100"/>
          <a:sy n="92" d="100"/>
        </p:scale>
        <p:origin x="1013" y="67"/>
      </p:cViewPr>
      <p:guideLst>
        <p:guide orient="horz" pos="2160"/>
        <p:guide orient="horz" pos="1207"/>
        <p:guide orient="horz" pos="1117"/>
        <p:guide pos="2880"/>
      </p:guideLst>
    </p:cSldViewPr>
  </p:slideViewPr>
  <p:outlineViewPr>
    <p:cViewPr>
      <p:scale>
        <a:sx n="33" d="100"/>
        <a:sy n="33" d="100"/>
      </p:scale>
      <p:origin x="0" y="-58590"/>
    </p:cViewPr>
  </p:outlineViewPr>
  <p:notesTextViewPr>
    <p:cViewPr>
      <p:scale>
        <a:sx n="3" d="2"/>
        <a:sy n="3" d="2"/>
      </p:scale>
      <p:origin x="0" y="0"/>
    </p:cViewPr>
  </p:notesTextViewPr>
  <p:sorterViewPr>
    <p:cViewPr>
      <p:scale>
        <a:sx n="50" d="100"/>
        <a:sy n="50" d="100"/>
      </p:scale>
      <p:origin x="0" y="0"/>
    </p:cViewPr>
  </p:sorterViewPr>
  <p:notesViewPr>
    <p:cSldViewPr>
      <p:cViewPr>
        <p:scale>
          <a:sx n="100" d="100"/>
          <a:sy n="100" d="100"/>
        </p:scale>
        <p:origin x="1866" y="-33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EFAC2BA-36B9-4EC5-A861-2A5F646A6BB0}" type="doc">
      <dgm:prSet loTypeId="urn:microsoft.com/office/officeart/2005/8/layout/pyramid1" loCatId="pyramid" qsTypeId="urn:microsoft.com/office/officeart/2005/8/quickstyle/simple1" qsCatId="simple" csTypeId="urn:microsoft.com/office/officeart/2005/8/colors/accent1_2" csCatId="accent1" phldr="1"/>
      <dgm:spPr/>
    </dgm:pt>
    <dgm:pt modelId="{3D5D6303-1201-41ED-BA48-69BEB552B631}">
      <dgm:prSet phldrT="[Text]"/>
      <dgm:spPr/>
      <dgm:t>
        <a:bodyPr/>
        <a:lstStyle/>
        <a:p>
          <a:r>
            <a:rPr lang="pl-PL" dirty="0"/>
            <a:t>UI</a:t>
          </a:r>
        </a:p>
      </dgm:t>
    </dgm:pt>
    <dgm:pt modelId="{2B1BA5E1-A060-4106-8FFE-781CD6B65DAF}" type="parTrans" cxnId="{733C9D96-6F4A-47E8-B038-4AC940A01EDC}">
      <dgm:prSet/>
      <dgm:spPr/>
      <dgm:t>
        <a:bodyPr/>
        <a:lstStyle/>
        <a:p>
          <a:endParaRPr lang="pl-PL"/>
        </a:p>
      </dgm:t>
    </dgm:pt>
    <dgm:pt modelId="{C5461851-43FD-4EE8-8F96-56CE39C9B211}" type="sibTrans" cxnId="{733C9D96-6F4A-47E8-B038-4AC940A01EDC}">
      <dgm:prSet/>
      <dgm:spPr/>
      <dgm:t>
        <a:bodyPr/>
        <a:lstStyle/>
        <a:p>
          <a:endParaRPr lang="pl-PL"/>
        </a:p>
      </dgm:t>
    </dgm:pt>
    <dgm:pt modelId="{07197DB1-8F52-4654-96BA-12593B88F523}">
      <dgm:prSet phldrT="[Text]"/>
      <dgm:spPr/>
      <dgm:t>
        <a:bodyPr/>
        <a:lstStyle/>
        <a:p>
          <a:r>
            <a:rPr lang="pl-PL" dirty="0"/>
            <a:t>Service</a:t>
          </a:r>
        </a:p>
      </dgm:t>
    </dgm:pt>
    <dgm:pt modelId="{73FBA167-D5D4-4EFD-9466-6787004291EC}" type="parTrans" cxnId="{4258F001-7B2A-4E8F-9D2D-BC1CD64B9632}">
      <dgm:prSet/>
      <dgm:spPr/>
      <dgm:t>
        <a:bodyPr/>
        <a:lstStyle/>
        <a:p>
          <a:endParaRPr lang="pl-PL"/>
        </a:p>
      </dgm:t>
    </dgm:pt>
    <dgm:pt modelId="{C0749DDB-B04F-4184-93EC-61D0F78A8AE5}" type="sibTrans" cxnId="{4258F001-7B2A-4E8F-9D2D-BC1CD64B9632}">
      <dgm:prSet/>
      <dgm:spPr/>
      <dgm:t>
        <a:bodyPr/>
        <a:lstStyle/>
        <a:p>
          <a:endParaRPr lang="pl-PL"/>
        </a:p>
      </dgm:t>
    </dgm:pt>
    <dgm:pt modelId="{03338E4A-DE8D-46A1-BE35-47639DD4338A}">
      <dgm:prSet phldrT="[Text]"/>
      <dgm:spPr/>
      <dgm:t>
        <a:bodyPr/>
        <a:lstStyle/>
        <a:p>
          <a:r>
            <a:rPr lang="pl-PL" dirty="0"/>
            <a:t>Unit</a:t>
          </a:r>
        </a:p>
      </dgm:t>
    </dgm:pt>
    <dgm:pt modelId="{12BD5957-8821-4928-9540-7F303DB81CD3}" type="parTrans" cxnId="{A8324F20-8D6B-4FD3-AD3D-2484AF475AF0}">
      <dgm:prSet/>
      <dgm:spPr/>
      <dgm:t>
        <a:bodyPr/>
        <a:lstStyle/>
        <a:p>
          <a:endParaRPr lang="pl-PL"/>
        </a:p>
      </dgm:t>
    </dgm:pt>
    <dgm:pt modelId="{C311FA87-8539-48C7-B39C-AF6638B18E43}" type="sibTrans" cxnId="{A8324F20-8D6B-4FD3-AD3D-2484AF475AF0}">
      <dgm:prSet/>
      <dgm:spPr/>
      <dgm:t>
        <a:bodyPr/>
        <a:lstStyle/>
        <a:p>
          <a:endParaRPr lang="pl-PL"/>
        </a:p>
      </dgm:t>
    </dgm:pt>
    <dgm:pt modelId="{76214429-407C-4C26-A8FF-08BF7BACFDDE}" type="pres">
      <dgm:prSet presAssocID="{EEFAC2BA-36B9-4EC5-A861-2A5F646A6BB0}" presName="Name0" presStyleCnt="0">
        <dgm:presLayoutVars>
          <dgm:dir/>
          <dgm:animLvl val="lvl"/>
          <dgm:resizeHandles val="exact"/>
        </dgm:presLayoutVars>
      </dgm:prSet>
      <dgm:spPr/>
    </dgm:pt>
    <dgm:pt modelId="{A7FC0E1A-D9C4-4295-BF36-E4B20F427CDA}" type="pres">
      <dgm:prSet presAssocID="{3D5D6303-1201-41ED-BA48-69BEB552B631}" presName="Name8" presStyleCnt="0"/>
      <dgm:spPr/>
    </dgm:pt>
    <dgm:pt modelId="{B814626E-64A5-4FB8-9B08-B6E552D4B75E}" type="pres">
      <dgm:prSet presAssocID="{3D5D6303-1201-41ED-BA48-69BEB552B631}" presName="level" presStyleLbl="node1" presStyleIdx="0" presStyleCnt="3">
        <dgm:presLayoutVars>
          <dgm:chMax val="1"/>
          <dgm:bulletEnabled val="1"/>
        </dgm:presLayoutVars>
      </dgm:prSet>
      <dgm:spPr/>
    </dgm:pt>
    <dgm:pt modelId="{16349E21-36F5-4515-ADEE-CFE9D5AB448A}" type="pres">
      <dgm:prSet presAssocID="{3D5D6303-1201-41ED-BA48-69BEB552B631}" presName="levelTx" presStyleLbl="revTx" presStyleIdx="0" presStyleCnt="0">
        <dgm:presLayoutVars>
          <dgm:chMax val="1"/>
          <dgm:bulletEnabled val="1"/>
        </dgm:presLayoutVars>
      </dgm:prSet>
      <dgm:spPr/>
    </dgm:pt>
    <dgm:pt modelId="{5C048DAD-AA37-4360-B6D1-2C546E42D7E5}" type="pres">
      <dgm:prSet presAssocID="{07197DB1-8F52-4654-96BA-12593B88F523}" presName="Name8" presStyleCnt="0"/>
      <dgm:spPr/>
    </dgm:pt>
    <dgm:pt modelId="{0C173A51-1920-4387-A4D0-80F70CDDDFA8}" type="pres">
      <dgm:prSet presAssocID="{07197DB1-8F52-4654-96BA-12593B88F523}" presName="level" presStyleLbl="node1" presStyleIdx="1" presStyleCnt="3">
        <dgm:presLayoutVars>
          <dgm:chMax val="1"/>
          <dgm:bulletEnabled val="1"/>
        </dgm:presLayoutVars>
      </dgm:prSet>
      <dgm:spPr/>
    </dgm:pt>
    <dgm:pt modelId="{D3C07052-691E-47FF-9000-10F9C4E5E89C}" type="pres">
      <dgm:prSet presAssocID="{07197DB1-8F52-4654-96BA-12593B88F523}" presName="levelTx" presStyleLbl="revTx" presStyleIdx="0" presStyleCnt="0">
        <dgm:presLayoutVars>
          <dgm:chMax val="1"/>
          <dgm:bulletEnabled val="1"/>
        </dgm:presLayoutVars>
      </dgm:prSet>
      <dgm:spPr/>
    </dgm:pt>
    <dgm:pt modelId="{C1AC11E2-5328-4BB7-AE95-92085A9FB363}" type="pres">
      <dgm:prSet presAssocID="{03338E4A-DE8D-46A1-BE35-47639DD4338A}" presName="Name8" presStyleCnt="0"/>
      <dgm:spPr/>
    </dgm:pt>
    <dgm:pt modelId="{09066086-B7EC-4921-AA8A-7A0F5DA331B1}" type="pres">
      <dgm:prSet presAssocID="{03338E4A-DE8D-46A1-BE35-47639DD4338A}" presName="level" presStyleLbl="node1" presStyleIdx="2" presStyleCnt="3">
        <dgm:presLayoutVars>
          <dgm:chMax val="1"/>
          <dgm:bulletEnabled val="1"/>
        </dgm:presLayoutVars>
      </dgm:prSet>
      <dgm:spPr/>
    </dgm:pt>
    <dgm:pt modelId="{10647A45-7893-473C-992E-DB71B4BA229E}" type="pres">
      <dgm:prSet presAssocID="{03338E4A-DE8D-46A1-BE35-47639DD4338A}" presName="levelTx" presStyleLbl="revTx" presStyleIdx="0" presStyleCnt="0">
        <dgm:presLayoutVars>
          <dgm:chMax val="1"/>
          <dgm:bulletEnabled val="1"/>
        </dgm:presLayoutVars>
      </dgm:prSet>
      <dgm:spPr/>
    </dgm:pt>
  </dgm:ptLst>
  <dgm:cxnLst>
    <dgm:cxn modelId="{4258F001-7B2A-4E8F-9D2D-BC1CD64B9632}" srcId="{EEFAC2BA-36B9-4EC5-A861-2A5F646A6BB0}" destId="{07197DB1-8F52-4654-96BA-12593B88F523}" srcOrd="1" destOrd="0" parTransId="{73FBA167-D5D4-4EFD-9466-6787004291EC}" sibTransId="{C0749DDB-B04F-4184-93EC-61D0F78A8AE5}"/>
    <dgm:cxn modelId="{51177E15-D953-4B28-8E70-A72EA36C7296}" type="presOf" srcId="{EEFAC2BA-36B9-4EC5-A861-2A5F646A6BB0}" destId="{76214429-407C-4C26-A8FF-08BF7BACFDDE}" srcOrd="0" destOrd="0" presId="urn:microsoft.com/office/officeart/2005/8/layout/pyramid1"/>
    <dgm:cxn modelId="{0FD00819-0041-4F39-8D5D-CA5A7F54405E}" type="presOf" srcId="{03338E4A-DE8D-46A1-BE35-47639DD4338A}" destId="{09066086-B7EC-4921-AA8A-7A0F5DA331B1}" srcOrd="0" destOrd="0" presId="urn:microsoft.com/office/officeart/2005/8/layout/pyramid1"/>
    <dgm:cxn modelId="{A8324F20-8D6B-4FD3-AD3D-2484AF475AF0}" srcId="{EEFAC2BA-36B9-4EC5-A861-2A5F646A6BB0}" destId="{03338E4A-DE8D-46A1-BE35-47639DD4338A}" srcOrd="2" destOrd="0" parTransId="{12BD5957-8821-4928-9540-7F303DB81CD3}" sibTransId="{C311FA87-8539-48C7-B39C-AF6638B18E43}"/>
    <dgm:cxn modelId="{8D5DA021-A10B-4461-818A-4840405A185F}" type="presOf" srcId="{3D5D6303-1201-41ED-BA48-69BEB552B631}" destId="{16349E21-36F5-4515-ADEE-CFE9D5AB448A}" srcOrd="1" destOrd="0" presId="urn:microsoft.com/office/officeart/2005/8/layout/pyramid1"/>
    <dgm:cxn modelId="{733C9D96-6F4A-47E8-B038-4AC940A01EDC}" srcId="{EEFAC2BA-36B9-4EC5-A861-2A5F646A6BB0}" destId="{3D5D6303-1201-41ED-BA48-69BEB552B631}" srcOrd="0" destOrd="0" parTransId="{2B1BA5E1-A060-4106-8FFE-781CD6B65DAF}" sibTransId="{C5461851-43FD-4EE8-8F96-56CE39C9B211}"/>
    <dgm:cxn modelId="{4FD9D1AB-035B-408A-8C1E-872F02962C15}" type="presOf" srcId="{07197DB1-8F52-4654-96BA-12593B88F523}" destId="{D3C07052-691E-47FF-9000-10F9C4E5E89C}" srcOrd="1" destOrd="0" presId="urn:microsoft.com/office/officeart/2005/8/layout/pyramid1"/>
    <dgm:cxn modelId="{E2D774C7-4A8C-4F74-9032-6D1600719CCF}" type="presOf" srcId="{03338E4A-DE8D-46A1-BE35-47639DD4338A}" destId="{10647A45-7893-473C-992E-DB71B4BA229E}" srcOrd="1" destOrd="0" presId="urn:microsoft.com/office/officeart/2005/8/layout/pyramid1"/>
    <dgm:cxn modelId="{F20B50CA-EC46-473A-9E66-C45AC28A5CDB}" type="presOf" srcId="{07197DB1-8F52-4654-96BA-12593B88F523}" destId="{0C173A51-1920-4387-A4D0-80F70CDDDFA8}" srcOrd="0" destOrd="0" presId="urn:microsoft.com/office/officeart/2005/8/layout/pyramid1"/>
    <dgm:cxn modelId="{3C9FC3CE-267D-4078-8525-7D32EBC2BFA5}" type="presOf" srcId="{3D5D6303-1201-41ED-BA48-69BEB552B631}" destId="{B814626E-64A5-4FB8-9B08-B6E552D4B75E}" srcOrd="0" destOrd="0" presId="urn:microsoft.com/office/officeart/2005/8/layout/pyramid1"/>
    <dgm:cxn modelId="{C9EDC3C9-41F1-4034-8BDD-5BEDD190F663}" type="presParOf" srcId="{76214429-407C-4C26-A8FF-08BF7BACFDDE}" destId="{A7FC0E1A-D9C4-4295-BF36-E4B20F427CDA}" srcOrd="0" destOrd="0" presId="urn:microsoft.com/office/officeart/2005/8/layout/pyramid1"/>
    <dgm:cxn modelId="{153DBE46-5DD2-4838-BFE3-3E76E033E46C}" type="presParOf" srcId="{A7FC0E1A-D9C4-4295-BF36-E4B20F427CDA}" destId="{B814626E-64A5-4FB8-9B08-B6E552D4B75E}" srcOrd="0" destOrd="0" presId="urn:microsoft.com/office/officeart/2005/8/layout/pyramid1"/>
    <dgm:cxn modelId="{75CF8053-0C00-4A19-93A4-56DC6803ACA2}" type="presParOf" srcId="{A7FC0E1A-D9C4-4295-BF36-E4B20F427CDA}" destId="{16349E21-36F5-4515-ADEE-CFE9D5AB448A}" srcOrd="1" destOrd="0" presId="urn:microsoft.com/office/officeart/2005/8/layout/pyramid1"/>
    <dgm:cxn modelId="{6D5DD9FD-B771-4D79-8B4F-1507FEB82C85}" type="presParOf" srcId="{76214429-407C-4C26-A8FF-08BF7BACFDDE}" destId="{5C048DAD-AA37-4360-B6D1-2C546E42D7E5}" srcOrd="1" destOrd="0" presId="urn:microsoft.com/office/officeart/2005/8/layout/pyramid1"/>
    <dgm:cxn modelId="{2E90A32F-9B5C-4DA8-9B49-A0C10EB4E0E2}" type="presParOf" srcId="{5C048DAD-AA37-4360-B6D1-2C546E42D7E5}" destId="{0C173A51-1920-4387-A4D0-80F70CDDDFA8}" srcOrd="0" destOrd="0" presId="urn:microsoft.com/office/officeart/2005/8/layout/pyramid1"/>
    <dgm:cxn modelId="{4D306A7B-7A83-41CB-95C5-24E02A2ED03C}" type="presParOf" srcId="{5C048DAD-AA37-4360-B6D1-2C546E42D7E5}" destId="{D3C07052-691E-47FF-9000-10F9C4E5E89C}" srcOrd="1" destOrd="0" presId="urn:microsoft.com/office/officeart/2005/8/layout/pyramid1"/>
    <dgm:cxn modelId="{4BD7CD58-7BB5-4DF0-8DE4-5E6DAC645B45}" type="presParOf" srcId="{76214429-407C-4C26-A8FF-08BF7BACFDDE}" destId="{C1AC11E2-5328-4BB7-AE95-92085A9FB363}" srcOrd="2" destOrd="0" presId="urn:microsoft.com/office/officeart/2005/8/layout/pyramid1"/>
    <dgm:cxn modelId="{7E84E877-DF9E-48B0-A50E-EEB1060B88D6}" type="presParOf" srcId="{C1AC11E2-5328-4BB7-AE95-92085A9FB363}" destId="{09066086-B7EC-4921-AA8A-7A0F5DA331B1}" srcOrd="0" destOrd="0" presId="urn:microsoft.com/office/officeart/2005/8/layout/pyramid1"/>
    <dgm:cxn modelId="{A00DCEE3-7DA7-415A-8662-C56A64CA32EA}" type="presParOf" srcId="{C1AC11E2-5328-4BB7-AE95-92085A9FB363}" destId="{10647A45-7893-473C-992E-DB71B4BA229E}" srcOrd="1" destOrd="0" presId="urn:microsoft.com/office/officeart/2005/8/layout/pyramid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14626E-64A5-4FB8-9B08-B6E552D4B75E}">
      <dsp:nvSpPr>
        <dsp:cNvPr id="0" name=""/>
        <dsp:cNvSpPr/>
      </dsp:nvSpPr>
      <dsp:spPr>
        <a:xfrm>
          <a:off x="1080120" y="0"/>
          <a:ext cx="1080120" cy="1055375"/>
        </a:xfrm>
        <a:prstGeom prst="trapezoid">
          <a:avLst>
            <a:gd name="adj" fmla="val 51172"/>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pl-PL" sz="2800" kern="1200" dirty="0"/>
            <a:t>UI</a:t>
          </a:r>
        </a:p>
      </dsp:txBody>
      <dsp:txXfrm>
        <a:off x="1080120" y="0"/>
        <a:ext cx="1080120" cy="1055375"/>
      </dsp:txXfrm>
    </dsp:sp>
    <dsp:sp modelId="{0C173A51-1920-4387-A4D0-80F70CDDDFA8}">
      <dsp:nvSpPr>
        <dsp:cNvPr id="0" name=""/>
        <dsp:cNvSpPr/>
      </dsp:nvSpPr>
      <dsp:spPr>
        <a:xfrm>
          <a:off x="540060" y="1055375"/>
          <a:ext cx="2160240" cy="1055375"/>
        </a:xfrm>
        <a:prstGeom prst="trapezoid">
          <a:avLst>
            <a:gd name="adj" fmla="val 51172"/>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pl-PL" sz="2800" kern="1200" dirty="0"/>
            <a:t>Service</a:t>
          </a:r>
        </a:p>
      </dsp:txBody>
      <dsp:txXfrm>
        <a:off x="918102" y="1055375"/>
        <a:ext cx="1404156" cy="1055375"/>
      </dsp:txXfrm>
    </dsp:sp>
    <dsp:sp modelId="{09066086-B7EC-4921-AA8A-7A0F5DA331B1}">
      <dsp:nvSpPr>
        <dsp:cNvPr id="0" name=""/>
        <dsp:cNvSpPr/>
      </dsp:nvSpPr>
      <dsp:spPr>
        <a:xfrm>
          <a:off x="0" y="2110750"/>
          <a:ext cx="3240359" cy="1055375"/>
        </a:xfrm>
        <a:prstGeom prst="trapezoid">
          <a:avLst>
            <a:gd name="adj" fmla="val 51172"/>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pl-PL" sz="2800" kern="1200" dirty="0"/>
            <a:t>Unit</a:t>
          </a:r>
        </a:p>
      </dsp:txBody>
      <dsp:txXfrm>
        <a:off x="567063" y="2110750"/>
        <a:ext cx="2106234" cy="1055375"/>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mtClean="0"/>
              <a:t>17-10-2018</a:t>
            </a:fld>
            <a:endParaRPr lang="pt-PT"/>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mtClean="0"/>
              <a:t>‹#›</a:t>
            </a:fld>
            <a:endParaRPr lang="pt-PT"/>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35B8F7-DAC4-4931-8AED-4356A8B2FD64}" type="datetimeFigureOut">
              <a:rPr lang="pt-BR" smtClean="0"/>
              <a:t>17/10/2018</a:t>
            </a:fld>
            <a:endParaRPr lang="pt-BR"/>
          </a:p>
        </p:txBody>
      </p:sp>
      <p:sp>
        <p:nvSpPr>
          <p:cNvPr id="4" name="Marcador de Posição da Imagem do Diapositivo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Editar os estilos de texto do Modelo Global</a:t>
            </a:r>
          </a:p>
          <a:p>
            <a:pPr lvl="1"/>
            <a:r>
              <a:rPr lang="pt-PT" dirty="0"/>
              <a:t>Segundo nível</a:t>
            </a:r>
          </a:p>
          <a:p>
            <a:pPr lvl="2"/>
            <a:r>
              <a:rPr lang="pt-PT" dirty="0"/>
              <a:t>Terceiro nível</a:t>
            </a:r>
          </a:p>
          <a:p>
            <a:pPr lvl="3"/>
            <a:r>
              <a:rPr lang="pt-PT" dirty="0"/>
              <a:t>Quarto nível</a:t>
            </a:r>
          </a:p>
          <a:p>
            <a:pPr lvl="4"/>
            <a:r>
              <a:rPr lang="pt-PT" dirty="0"/>
              <a:t>Quinto nível</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696B5C-12A0-4042-B4D0-BD3B9A4F58C6}" type="slidenum">
              <a:rPr lang="pt-BR" smtClean="0"/>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600"/>
      </a:spcBef>
      <a:defRPr sz="1200" kern="1200">
        <a:solidFill>
          <a:schemeClr val="tx1"/>
        </a:solidFill>
        <a:latin typeface="+mn-lt"/>
        <a:ea typeface="+mn-ea"/>
        <a:cs typeface="+mn-cs"/>
      </a:defRPr>
    </a:lvl1pPr>
    <a:lvl2pPr marL="180975" indent="-180975" algn="l" defTabSz="914400" rtl="0" eaLnBrk="1" latinLnBrk="0" hangingPunct="1">
      <a:spcBef>
        <a:spcPts val="600"/>
      </a:spcBef>
      <a:buClr>
        <a:schemeClr val="tx2"/>
      </a:buClr>
      <a:buFont typeface="Wingdings" panose="05000000000000000000" pitchFamily="2" charset="2"/>
      <a:buChar char="§"/>
      <a:defRPr sz="1200" kern="1200">
        <a:solidFill>
          <a:schemeClr val="tx1"/>
        </a:solidFill>
        <a:latin typeface="+mn-lt"/>
        <a:ea typeface="+mn-ea"/>
        <a:cs typeface="+mn-cs"/>
      </a:defRPr>
    </a:lvl2pPr>
    <a:lvl3pPr marL="358775" indent="-177800" algn="l" defTabSz="914400" rtl="0" eaLnBrk="1" latinLnBrk="0" hangingPunct="1">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539750" indent="-180975" algn="l" defTabSz="914400" rtl="0" eaLnBrk="1" latinLnBrk="0" hangingPunct="1">
      <a:spcBef>
        <a:spcPts val="600"/>
      </a:spcBef>
      <a:buClr>
        <a:schemeClr val="tx2"/>
      </a:buClr>
      <a:buFont typeface="Calibri" panose="020F0502020204030204" pitchFamily="34" charset="0"/>
      <a:buChar char="̶"/>
      <a:defRPr sz="1200" kern="1200">
        <a:solidFill>
          <a:schemeClr val="tx1"/>
        </a:solidFill>
        <a:latin typeface="+mn-lt"/>
        <a:ea typeface="+mn-ea"/>
        <a:cs typeface="+mn-cs"/>
      </a:defRPr>
    </a:lvl4pPr>
    <a:lvl5pPr marL="717550" indent="-177800" algn="l" defTabSz="914400" rtl="0" eaLnBrk="1" latinLnBrk="0" hangingPunct="1">
      <a:spcBef>
        <a:spcPts val="600"/>
      </a:spcBef>
      <a:buClr>
        <a:schemeClr val="tx2"/>
      </a:buClr>
      <a:buFont typeface="Calibri" panose="020F050202020403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sv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Master" Target="../slideMasters/slideMaster1.xml"/><Relationship Id="rId7" Type="http://schemas.openxmlformats.org/officeDocument/2006/relationships/image" Target="../media/image7.sv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9.bin"/><Relationship Id="rId9" Type="http://schemas.openxmlformats.org/officeDocument/2006/relationships/image" Target="../media/image3.sv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hyperlink" Target="http://www.linkedin.com/company/capgemini" TargetMode="External"/><Relationship Id="rId13" Type="http://schemas.microsoft.com/office/2007/relationships/hdphoto" Target="../media/hdphoto2.wdp"/><Relationship Id="rId18" Type="http://schemas.openxmlformats.org/officeDocument/2006/relationships/image" Target="../media/image11.png"/><Relationship Id="rId3" Type="http://schemas.openxmlformats.org/officeDocument/2006/relationships/slideMaster" Target="../slideMasters/slideMaster1.xml"/><Relationship Id="rId21" Type="http://schemas.openxmlformats.org/officeDocument/2006/relationships/image" Target="../media/image12.png"/><Relationship Id="rId7" Type="http://schemas.openxmlformats.org/officeDocument/2006/relationships/image" Target="../media/image3.svg"/><Relationship Id="rId12" Type="http://schemas.openxmlformats.org/officeDocument/2006/relationships/image" Target="../media/image9.png"/><Relationship Id="rId17" Type="http://schemas.openxmlformats.org/officeDocument/2006/relationships/hyperlink" Target="http://www.youtube.com/capgeminimedia" TargetMode="External"/><Relationship Id="rId2" Type="http://schemas.openxmlformats.org/officeDocument/2006/relationships/tags" Target="../tags/tag11.xml"/><Relationship Id="rId16" Type="http://schemas.microsoft.com/office/2007/relationships/hdphoto" Target="../media/hdphoto3.wdp"/><Relationship Id="rId20" Type="http://schemas.openxmlformats.org/officeDocument/2006/relationships/hyperlink" Target="http://www.facebook.com/capgemini" TargetMode="External"/><Relationship Id="rId1" Type="http://schemas.openxmlformats.org/officeDocument/2006/relationships/vmlDrawing" Target="../drawings/vmlDrawing10.vml"/><Relationship Id="rId6" Type="http://schemas.openxmlformats.org/officeDocument/2006/relationships/image" Target="../media/image2.png"/><Relationship Id="rId11" Type="http://schemas.openxmlformats.org/officeDocument/2006/relationships/hyperlink" Target="http://www.slideshare.net/capgemini" TargetMode="External"/><Relationship Id="rId5" Type="http://schemas.openxmlformats.org/officeDocument/2006/relationships/image" Target="../media/image1.emf"/><Relationship Id="rId15" Type="http://schemas.openxmlformats.org/officeDocument/2006/relationships/image" Target="../media/image10.png"/><Relationship Id="rId10" Type="http://schemas.microsoft.com/office/2007/relationships/hdphoto" Target="../media/hdphoto1.wdp"/><Relationship Id="rId19" Type="http://schemas.microsoft.com/office/2007/relationships/hdphoto" Target="../media/hdphoto4.wdp"/><Relationship Id="rId4" Type="http://schemas.openxmlformats.org/officeDocument/2006/relationships/oleObject" Target="../embeddings/oleObject10.bin"/><Relationship Id="rId9" Type="http://schemas.openxmlformats.org/officeDocument/2006/relationships/image" Target="../media/image8.png"/><Relationship Id="rId14" Type="http://schemas.openxmlformats.org/officeDocument/2006/relationships/hyperlink" Target="http://www.twitter.com/capgemini" TargetMode="External"/><Relationship Id="rId22" Type="http://schemas.microsoft.com/office/2007/relationships/hdphoto" Target="../media/hdphoto5.wdp"/></Relationships>
</file>

<file path=ppt/slideLayouts/_rels/slideLayout23.xml.rels><?xml version="1.0" encoding="UTF-8" standalone="yes"?>
<Relationships xmlns="http://schemas.openxmlformats.org/package/2006/relationships"><Relationship Id="rId8" Type="http://schemas.openxmlformats.org/officeDocument/2006/relationships/hyperlink" Target="http://www.linkedin.com/company/capgemini" TargetMode="External"/><Relationship Id="rId13" Type="http://schemas.openxmlformats.org/officeDocument/2006/relationships/image" Target="../media/image15.png"/><Relationship Id="rId3" Type="http://schemas.openxmlformats.org/officeDocument/2006/relationships/slideMaster" Target="../slideMasters/slideMaster1.xml"/><Relationship Id="rId7" Type="http://schemas.openxmlformats.org/officeDocument/2006/relationships/image" Target="../media/image3.svg"/><Relationship Id="rId12" Type="http://schemas.openxmlformats.org/officeDocument/2006/relationships/hyperlink" Target="http://www.twitter.com/capgemini" TargetMode="External"/><Relationship Id="rId17" Type="http://schemas.openxmlformats.org/officeDocument/2006/relationships/image" Target="../media/image17.png"/><Relationship Id="rId2" Type="http://schemas.openxmlformats.org/officeDocument/2006/relationships/tags" Target="../tags/tag12.xml"/><Relationship Id="rId16" Type="http://schemas.openxmlformats.org/officeDocument/2006/relationships/hyperlink" Target="http://www.facebook.com/capgemini" TargetMode="External"/><Relationship Id="rId1" Type="http://schemas.openxmlformats.org/officeDocument/2006/relationships/vmlDrawing" Target="../drawings/vmlDrawing11.vml"/><Relationship Id="rId6" Type="http://schemas.openxmlformats.org/officeDocument/2006/relationships/image" Target="../media/image2.png"/><Relationship Id="rId11" Type="http://schemas.openxmlformats.org/officeDocument/2006/relationships/image" Target="../media/image14.png"/><Relationship Id="rId5" Type="http://schemas.openxmlformats.org/officeDocument/2006/relationships/image" Target="../media/image1.emf"/><Relationship Id="rId15" Type="http://schemas.openxmlformats.org/officeDocument/2006/relationships/image" Target="../media/image16.png"/><Relationship Id="rId10" Type="http://schemas.openxmlformats.org/officeDocument/2006/relationships/hyperlink" Target="http://www.slideshare.net/capgemini" TargetMode="External"/><Relationship Id="rId4" Type="http://schemas.openxmlformats.org/officeDocument/2006/relationships/oleObject" Target="../embeddings/oleObject11.bin"/><Relationship Id="rId9" Type="http://schemas.openxmlformats.org/officeDocument/2006/relationships/image" Target="../media/image13.png"/><Relationship Id="rId14" Type="http://schemas.openxmlformats.org/officeDocument/2006/relationships/hyperlink" Target="http://www.youtube.com/capgeminimedia" TargetMode="Externa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4.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1.1">
    <p:bg>
      <p:bgPr>
        <a:solidFill>
          <a:schemeClr val="bg2"/>
        </a:solidFill>
        <a:effectLst/>
      </p:bgPr>
    </p:bg>
    <p:spTree>
      <p:nvGrpSpPr>
        <p:cNvPr id="1" name=""/>
        <p:cNvGrpSpPr/>
        <p:nvPr/>
      </p:nvGrpSpPr>
      <p:grpSpPr>
        <a:xfrm>
          <a:off x="0" y="0"/>
          <a:ext cx="0" cy="0"/>
          <a:chOff x="0" y="0"/>
          <a:chExt cx="0" cy="0"/>
        </a:xfrm>
      </p:grpSpPr>
      <p:sp>
        <p:nvSpPr>
          <p:cNvPr id="10" name="Freeform 7"/>
          <p:cNvSpPr>
            <a:spLocks/>
          </p:cNvSpPr>
          <p:nvPr userDrawn="1"/>
        </p:nvSpPr>
        <p:spPr bwMode="auto">
          <a:xfrm>
            <a:off x="7138987" y="6842126"/>
            <a:ext cx="80963" cy="15875"/>
          </a:xfrm>
          <a:custGeom>
            <a:avLst/>
            <a:gdLst>
              <a:gd name="T0" fmla="*/ 0 w 34"/>
              <a:gd name="T1" fmla="*/ 5 h 5"/>
              <a:gd name="T2" fmla="*/ 13 w 34"/>
              <a:gd name="T3" fmla="*/ 3 h 5"/>
              <a:gd name="T4" fmla="*/ 34 w 34"/>
              <a:gd name="T5" fmla="*/ 0 h 5"/>
              <a:gd name="T6" fmla="*/ 34 w 34"/>
              <a:gd name="T7" fmla="*/ 5 h 5"/>
              <a:gd name="T8" fmla="*/ 0 w 34"/>
              <a:gd name="T9" fmla="*/ 5 h 5"/>
            </a:gdLst>
            <a:ahLst/>
            <a:cxnLst>
              <a:cxn ang="0">
                <a:pos x="T0" y="T1"/>
              </a:cxn>
              <a:cxn ang="0">
                <a:pos x="T2" y="T3"/>
              </a:cxn>
              <a:cxn ang="0">
                <a:pos x="T4" y="T5"/>
              </a:cxn>
              <a:cxn ang="0">
                <a:pos x="T6" y="T7"/>
              </a:cxn>
              <a:cxn ang="0">
                <a:pos x="T8" y="T9"/>
              </a:cxn>
            </a:cxnLst>
            <a:rect l="0" t="0" r="r" b="b"/>
            <a:pathLst>
              <a:path w="34" h="5">
                <a:moveTo>
                  <a:pt x="0" y="5"/>
                </a:moveTo>
                <a:cubicBezTo>
                  <a:pt x="4" y="4"/>
                  <a:pt x="9" y="3"/>
                  <a:pt x="13" y="3"/>
                </a:cubicBezTo>
                <a:cubicBezTo>
                  <a:pt x="20" y="2"/>
                  <a:pt x="27" y="1"/>
                  <a:pt x="34" y="0"/>
                </a:cubicBezTo>
                <a:cubicBezTo>
                  <a:pt x="34" y="1"/>
                  <a:pt x="34" y="3"/>
                  <a:pt x="34" y="5"/>
                </a:cubicBezTo>
                <a:cubicBezTo>
                  <a:pt x="23" y="5"/>
                  <a:pt x="11" y="5"/>
                  <a:pt x="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sz="1350"/>
          </a:p>
        </p:txBody>
      </p:sp>
      <p:sp>
        <p:nvSpPr>
          <p:cNvPr id="13" name="Freeform 5"/>
          <p:cNvSpPr>
            <a:spLocks/>
          </p:cNvSpPr>
          <p:nvPr userDrawn="1"/>
        </p:nvSpPr>
        <p:spPr bwMode="auto">
          <a:xfrm>
            <a:off x="3848100" y="0"/>
            <a:ext cx="5295900" cy="6861175"/>
          </a:xfrm>
          <a:custGeom>
            <a:avLst/>
            <a:gdLst>
              <a:gd name="T0" fmla="*/ 2190 w 2224"/>
              <a:gd name="T1" fmla="*/ 2161 h 2161"/>
              <a:gd name="T2" fmla="*/ 2158 w 2224"/>
              <a:gd name="T3" fmla="*/ 2161 h 2161"/>
              <a:gd name="T4" fmla="*/ 2149 w 2224"/>
              <a:gd name="T5" fmla="*/ 2159 h 2161"/>
              <a:gd name="T6" fmla="*/ 2087 w 2224"/>
              <a:gd name="T7" fmla="*/ 2151 h 2161"/>
              <a:gd name="T8" fmla="*/ 1957 w 2224"/>
              <a:gd name="T9" fmla="*/ 2117 h 2161"/>
              <a:gd name="T10" fmla="*/ 1701 w 2224"/>
              <a:gd name="T11" fmla="*/ 2001 h 2161"/>
              <a:gd name="T12" fmla="*/ 1396 w 2224"/>
              <a:gd name="T13" fmla="*/ 1804 h 2161"/>
              <a:gd name="T14" fmla="*/ 1172 w 2224"/>
              <a:gd name="T15" fmla="*/ 1625 h 2161"/>
              <a:gd name="T16" fmla="*/ 1099 w 2224"/>
              <a:gd name="T17" fmla="*/ 1563 h 2161"/>
              <a:gd name="T18" fmla="*/ 1091 w 2224"/>
              <a:gd name="T19" fmla="*/ 1557 h 2161"/>
              <a:gd name="T20" fmla="*/ 1097 w 2224"/>
              <a:gd name="T21" fmla="*/ 1547 h 2161"/>
              <a:gd name="T22" fmla="*/ 1121 w 2224"/>
              <a:gd name="T23" fmla="*/ 1500 h 2161"/>
              <a:gd name="T24" fmla="*/ 1169 w 2224"/>
              <a:gd name="T25" fmla="*/ 1345 h 2161"/>
              <a:gd name="T26" fmla="*/ 1161 w 2224"/>
              <a:gd name="T27" fmla="*/ 1234 h 2161"/>
              <a:gd name="T28" fmla="*/ 1087 w 2224"/>
              <a:gd name="T29" fmla="*/ 1109 h 2161"/>
              <a:gd name="T30" fmla="*/ 965 w 2224"/>
              <a:gd name="T31" fmla="*/ 1010 h 2161"/>
              <a:gd name="T32" fmla="*/ 752 w 2224"/>
              <a:gd name="T33" fmla="*/ 895 h 2161"/>
              <a:gd name="T34" fmla="*/ 489 w 2224"/>
              <a:gd name="T35" fmla="*/ 779 h 2161"/>
              <a:gd name="T36" fmla="*/ 347 w 2224"/>
              <a:gd name="T37" fmla="*/ 718 h 2161"/>
              <a:gd name="T38" fmla="*/ 170 w 2224"/>
              <a:gd name="T39" fmla="*/ 607 h 2161"/>
              <a:gd name="T40" fmla="*/ 54 w 2224"/>
              <a:gd name="T41" fmla="*/ 466 h 2161"/>
              <a:gd name="T42" fmla="*/ 2 w 2224"/>
              <a:gd name="T43" fmla="*/ 243 h 2161"/>
              <a:gd name="T44" fmla="*/ 16 w 2224"/>
              <a:gd name="T45" fmla="*/ 132 h 2161"/>
              <a:gd name="T46" fmla="*/ 65 w 2224"/>
              <a:gd name="T47" fmla="*/ 0 h 2161"/>
              <a:gd name="T48" fmla="*/ 2224 w 2224"/>
              <a:gd name="T49" fmla="*/ 0 h 2161"/>
              <a:gd name="T50" fmla="*/ 2224 w 2224"/>
              <a:gd name="T51" fmla="*/ 2156 h 2161"/>
              <a:gd name="T52" fmla="*/ 2203 w 2224"/>
              <a:gd name="T53" fmla="*/ 2159 h 2161"/>
              <a:gd name="T54" fmla="*/ 2190 w 2224"/>
              <a:gd name="T55" fmla="*/ 2161 h 2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24" h="2161">
                <a:moveTo>
                  <a:pt x="2190" y="2161"/>
                </a:moveTo>
                <a:cubicBezTo>
                  <a:pt x="2179" y="2161"/>
                  <a:pt x="2169" y="2161"/>
                  <a:pt x="2158" y="2161"/>
                </a:cubicBezTo>
                <a:cubicBezTo>
                  <a:pt x="2155" y="2160"/>
                  <a:pt x="2152" y="2159"/>
                  <a:pt x="2149" y="2159"/>
                </a:cubicBezTo>
                <a:cubicBezTo>
                  <a:pt x="2128" y="2156"/>
                  <a:pt x="2108" y="2155"/>
                  <a:pt x="2087" y="2151"/>
                </a:cubicBezTo>
                <a:cubicBezTo>
                  <a:pt x="2043" y="2144"/>
                  <a:pt x="1999" y="2132"/>
                  <a:pt x="1957" y="2117"/>
                </a:cubicBezTo>
                <a:cubicBezTo>
                  <a:pt x="1868" y="2087"/>
                  <a:pt x="1783" y="2047"/>
                  <a:pt x="1701" y="2001"/>
                </a:cubicBezTo>
                <a:cubicBezTo>
                  <a:pt x="1595" y="1943"/>
                  <a:pt x="1494" y="1876"/>
                  <a:pt x="1396" y="1804"/>
                </a:cubicBezTo>
                <a:cubicBezTo>
                  <a:pt x="1319" y="1747"/>
                  <a:pt x="1244" y="1688"/>
                  <a:pt x="1172" y="1625"/>
                </a:cubicBezTo>
                <a:cubicBezTo>
                  <a:pt x="1148" y="1604"/>
                  <a:pt x="1123" y="1584"/>
                  <a:pt x="1099" y="1563"/>
                </a:cubicBezTo>
                <a:cubicBezTo>
                  <a:pt x="1096" y="1561"/>
                  <a:pt x="1094" y="1559"/>
                  <a:pt x="1091" y="1557"/>
                </a:cubicBezTo>
                <a:cubicBezTo>
                  <a:pt x="1094" y="1553"/>
                  <a:pt x="1095" y="1550"/>
                  <a:pt x="1097" y="1547"/>
                </a:cubicBezTo>
                <a:cubicBezTo>
                  <a:pt x="1105" y="1531"/>
                  <a:pt x="1113" y="1516"/>
                  <a:pt x="1121" y="1500"/>
                </a:cubicBezTo>
                <a:cubicBezTo>
                  <a:pt x="1145" y="1451"/>
                  <a:pt x="1163" y="1400"/>
                  <a:pt x="1169" y="1345"/>
                </a:cubicBezTo>
                <a:cubicBezTo>
                  <a:pt x="1174" y="1307"/>
                  <a:pt x="1171" y="1270"/>
                  <a:pt x="1161" y="1234"/>
                </a:cubicBezTo>
                <a:cubicBezTo>
                  <a:pt x="1147" y="1186"/>
                  <a:pt x="1120" y="1145"/>
                  <a:pt x="1087" y="1109"/>
                </a:cubicBezTo>
                <a:cubicBezTo>
                  <a:pt x="1051" y="1070"/>
                  <a:pt x="1009" y="1039"/>
                  <a:pt x="965" y="1010"/>
                </a:cubicBezTo>
                <a:cubicBezTo>
                  <a:pt x="897" y="966"/>
                  <a:pt x="825" y="929"/>
                  <a:pt x="752" y="895"/>
                </a:cubicBezTo>
                <a:cubicBezTo>
                  <a:pt x="665" y="854"/>
                  <a:pt x="577" y="817"/>
                  <a:pt x="489" y="779"/>
                </a:cubicBezTo>
                <a:cubicBezTo>
                  <a:pt x="441" y="759"/>
                  <a:pt x="394" y="740"/>
                  <a:pt x="347" y="718"/>
                </a:cubicBezTo>
                <a:cubicBezTo>
                  <a:pt x="283" y="689"/>
                  <a:pt x="224" y="653"/>
                  <a:pt x="170" y="607"/>
                </a:cubicBezTo>
                <a:cubicBezTo>
                  <a:pt x="123" y="567"/>
                  <a:pt x="83" y="521"/>
                  <a:pt x="54" y="466"/>
                </a:cubicBezTo>
                <a:cubicBezTo>
                  <a:pt x="16" y="396"/>
                  <a:pt x="0" y="322"/>
                  <a:pt x="2" y="243"/>
                </a:cubicBezTo>
                <a:cubicBezTo>
                  <a:pt x="3" y="206"/>
                  <a:pt x="8" y="169"/>
                  <a:pt x="16" y="132"/>
                </a:cubicBezTo>
                <a:cubicBezTo>
                  <a:pt x="27" y="86"/>
                  <a:pt x="43" y="42"/>
                  <a:pt x="65" y="0"/>
                </a:cubicBezTo>
                <a:cubicBezTo>
                  <a:pt x="784" y="0"/>
                  <a:pt x="1504" y="0"/>
                  <a:pt x="2224" y="0"/>
                </a:cubicBezTo>
                <a:cubicBezTo>
                  <a:pt x="2224" y="719"/>
                  <a:pt x="2224" y="1437"/>
                  <a:pt x="2224" y="2156"/>
                </a:cubicBezTo>
                <a:cubicBezTo>
                  <a:pt x="2217" y="2157"/>
                  <a:pt x="2210" y="2158"/>
                  <a:pt x="2203" y="2159"/>
                </a:cubicBezTo>
                <a:cubicBezTo>
                  <a:pt x="2199" y="2159"/>
                  <a:pt x="2194" y="2160"/>
                  <a:pt x="2190" y="2161"/>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endParaRPr lang="de-DE" sz="1350"/>
          </a:p>
        </p:txBody>
      </p:sp>
      <p:sp>
        <p:nvSpPr>
          <p:cNvPr id="7" name="Title 1"/>
          <p:cNvSpPr>
            <a:spLocks noGrp="1"/>
          </p:cNvSpPr>
          <p:nvPr>
            <p:ph type="ctrTitle" hasCustomPrompt="1"/>
          </p:nvPr>
        </p:nvSpPr>
        <p:spPr>
          <a:xfrm>
            <a:off x="305991" y="1358153"/>
            <a:ext cx="3580694"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1950" b="0" dirty="0">
                <a:solidFill>
                  <a:schemeClr val="tx2"/>
                </a:solidFill>
              </a:defRPr>
            </a:lvl1pPr>
          </a:lstStyle>
          <a:p>
            <a:pPr marL="0" lvl="0"/>
            <a:r>
              <a:rPr lang="en-US" dirty="0"/>
              <a:t>Click to insert title</a:t>
            </a:r>
          </a:p>
        </p:txBody>
      </p:sp>
      <p:sp>
        <p:nvSpPr>
          <p:cNvPr id="9" name="Subtitle 2"/>
          <p:cNvSpPr>
            <a:spLocks noGrp="1"/>
          </p:cNvSpPr>
          <p:nvPr>
            <p:ph type="subTitle" idx="1" hasCustomPrompt="1"/>
          </p:nvPr>
        </p:nvSpPr>
        <p:spPr>
          <a:xfrm>
            <a:off x="305991" y="2976181"/>
            <a:ext cx="3580693"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lang="en-US" sz="1200" dirty="0">
                <a:solidFill>
                  <a:schemeClr val="tx2"/>
                </a:solidFill>
              </a:defRPr>
            </a:lvl1pPr>
          </a:lstStyle>
          <a:p>
            <a:pPr marL="0" lvl="0"/>
            <a:r>
              <a:rPr lang="en-US" dirty="0"/>
              <a:t>Click to insert presenter, location, and date</a:t>
            </a:r>
          </a:p>
        </p:txBody>
      </p:sp>
      <p:grpSp>
        <p:nvGrpSpPr>
          <p:cNvPr id="14" name="Group 14"/>
          <p:cNvGrpSpPr>
            <a:grpSpLocks noChangeAspect="1"/>
          </p:cNvGrpSpPr>
          <p:nvPr userDrawn="1"/>
        </p:nvGrpSpPr>
        <p:grpSpPr>
          <a:xfrm>
            <a:off x="312666" y="4537346"/>
            <a:ext cx="3780000" cy="1123654"/>
            <a:chOff x="728663" y="4465638"/>
            <a:chExt cx="5354637" cy="1193801"/>
          </a:xfrm>
        </p:grpSpPr>
        <p:sp>
          <p:nvSpPr>
            <p:cNvPr id="15"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1350"/>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350"/>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350"/>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350"/>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350"/>
            </a:p>
          </p:txBody>
        </p:sp>
      </p:grpSp>
    </p:spTree>
    <p:extLst>
      <p:ext uri="{BB962C8B-B14F-4D97-AF65-F5344CB8AC3E}">
        <p14:creationId xmlns:p14="http://schemas.microsoft.com/office/powerpoint/2010/main" val="2250876948"/>
      </p:ext>
    </p:extLst>
  </p:cSld>
  <p:clrMapOvr>
    <a:masterClrMapping/>
  </p:clrMapOvr>
  <p:extLst mod="1">
    <p:ext uri="{DCECCB84-F9BA-43D5-87BE-67443E8EF086}">
      <p15:sldGuideLst xmlns:p15="http://schemas.microsoft.com/office/powerpoint/2012/main">
        <p15:guide id="1" pos="541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a:t>
            </a:r>
            <a:br>
              <a:rPr lang="en-US" dirty="0"/>
            </a:br>
            <a:r>
              <a:rPr lang="en-US" dirty="0"/>
              <a:t>title style</a:t>
            </a:r>
            <a:endParaRPr lang="de-DE" dirty="0"/>
          </a:p>
        </p:txBody>
      </p:sp>
      <p:sp>
        <p:nvSpPr>
          <p:cNvPr id="7" name="Footer Placeholder 6"/>
          <p:cNvSpPr>
            <a:spLocks noGrp="1"/>
          </p:cNvSpPr>
          <p:nvPr>
            <p:ph type="ftr" sz="quarter" idx="16"/>
          </p:nvPr>
        </p:nvSpPr>
        <p:spPr/>
        <p:txBody>
          <a:bodyPr/>
          <a:lstStyle/>
          <a:p>
            <a:r>
              <a:rPr lang="en-US"/>
              <a:t>Virtualiation (2).pptx</a:t>
            </a:r>
            <a:endParaRPr lang="en-US" dirty="0"/>
          </a:p>
        </p:txBody>
      </p:sp>
      <p:sp>
        <p:nvSpPr>
          <p:cNvPr id="9" name="Slide Number Placeholder 8"/>
          <p:cNvSpPr>
            <a:spLocks noGrp="1"/>
          </p:cNvSpPr>
          <p:nvPr>
            <p:ph type="sldNum" sz="quarter" idx="17"/>
          </p:nvPr>
        </p:nvSpPr>
        <p:spPr/>
        <p:txBody>
          <a:bodyPr/>
          <a:lstStyle/>
          <a:p>
            <a:fld id="{DD205EFF-948D-4AF6-B54C-65639188FB5F}" type="slidenum">
              <a:rPr lang="en-US" smtClean="0"/>
              <a:pPr/>
              <a:t>‹#›</a:t>
            </a:fld>
            <a:endParaRPr lang="en-US" dirty="0"/>
          </a:p>
        </p:txBody>
      </p:sp>
      <p:sp>
        <p:nvSpPr>
          <p:cNvPr id="6"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305990" y="1420990"/>
            <a:ext cx="8532020" cy="360000"/>
          </a:xfrm>
          <a:prstGeom prst="rect">
            <a:avLst/>
          </a:prstGeom>
        </p:spPr>
        <p:txBody>
          <a:bodyPr>
            <a:noAutofit/>
          </a:bodyPr>
          <a:lstStyle>
            <a:lvl1pPr>
              <a:lnSpc>
                <a:spcPts val="1650"/>
              </a:lnSpc>
              <a:defRPr sz="120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Tree>
    <p:extLst>
      <p:ext uri="{BB962C8B-B14F-4D97-AF65-F5344CB8AC3E}">
        <p14:creationId xmlns:p14="http://schemas.microsoft.com/office/powerpoint/2010/main" val="29684717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dirty="0"/>
          </a:p>
        </p:txBody>
      </p:sp>
      <p:sp>
        <p:nvSpPr>
          <p:cNvPr id="7" name="Text Placeholder 6"/>
          <p:cNvSpPr>
            <a:spLocks noGrp="1"/>
          </p:cNvSpPr>
          <p:nvPr>
            <p:ph type="body" sz="quarter" idx="13"/>
          </p:nvPr>
        </p:nvSpPr>
        <p:spPr>
          <a:xfrm>
            <a:off x="305991" y="1412876"/>
            <a:ext cx="8532019" cy="50403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Footer Placeholder 7"/>
          <p:cNvSpPr>
            <a:spLocks noGrp="1"/>
          </p:cNvSpPr>
          <p:nvPr>
            <p:ph type="ftr" sz="quarter" idx="15"/>
          </p:nvPr>
        </p:nvSpPr>
        <p:spPr/>
        <p:txBody>
          <a:bodyPr/>
          <a:lstStyle/>
          <a:p>
            <a:r>
              <a:rPr lang="en-US"/>
              <a:t>Virtualiation (2).pptx</a:t>
            </a:r>
            <a:endParaRPr lang="en-US" dirty="0"/>
          </a:p>
        </p:txBody>
      </p:sp>
      <p:sp>
        <p:nvSpPr>
          <p:cNvPr id="9" name="Slide Number Placeholder 8"/>
          <p:cNvSpPr>
            <a:spLocks noGrp="1"/>
          </p:cNvSpPr>
          <p:nvPr>
            <p:ph type="sldNum" sz="quarter" idx="16"/>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8285243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a:t>
            </a:r>
            <a:br>
              <a:rPr lang="en-US" dirty="0"/>
            </a:br>
            <a:r>
              <a:rPr lang="en-US" dirty="0"/>
              <a:t>title style</a:t>
            </a:r>
            <a:endParaRPr lang="de-DE" dirty="0"/>
          </a:p>
        </p:txBody>
      </p:sp>
      <p:sp>
        <p:nvSpPr>
          <p:cNvPr id="7" name="Text Placeholder 6"/>
          <p:cNvSpPr>
            <a:spLocks noGrp="1"/>
          </p:cNvSpPr>
          <p:nvPr>
            <p:ph type="body" sz="quarter" idx="13"/>
          </p:nvPr>
        </p:nvSpPr>
        <p:spPr>
          <a:xfrm>
            <a:off x="305991" y="1932114"/>
            <a:ext cx="8532019" cy="45210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9" name="Footer Placeholder 8"/>
          <p:cNvSpPr>
            <a:spLocks noGrp="1"/>
          </p:cNvSpPr>
          <p:nvPr>
            <p:ph type="ftr" sz="quarter" idx="16"/>
          </p:nvPr>
        </p:nvSpPr>
        <p:spPr/>
        <p:txBody>
          <a:bodyPr/>
          <a:lstStyle/>
          <a:p>
            <a:r>
              <a:rPr lang="en-US"/>
              <a:t>Virtualiation (2).pptx</a:t>
            </a:r>
            <a:endParaRPr lang="en-US" dirty="0"/>
          </a:p>
        </p:txBody>
      </p:sp>
      <p:sp>
        <p:nvSpPr>
          <p:cNvPr id="10" name="Slide Number Placeholder 9"/>
          <p:cNvSpPr>
            <a:spLocks noGrp="1"/>
          </p:cNvSpPr>
          <p:nvPr>
            <p:ph type="sldNum" sz="quarter" idx="17"/>
          </p:nvPr>
        </p:nvSpPr>
        <p:spPr/>
        <p:txBody>
          <a:bodyPr/>
          <a:lstStyle/>
          <a:p>
            <a:fld id="{DD205EFF-948D-4AF6-B54C-65639188FB5F}" type="slidenum">
              <a:rPr lang="en-US" smtClean="0"/>
              <a:pPr/>
              <a:t>‹#›</a:t>
            </a:fld>
            <a:endParaRPr lang="en-US" dirty="0"/>
          </a:p>
        </p:txBody>
      </p:sp>
      <p:sp>
        <p:nvSpPr>
          <p:cNvPr id="11"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305990" y="1420990"/>
            <a:ext cx="8532020" cy="360000"/>
          </a:xfrm>
          <a:prstGeom prst="rect">
            <a:avLst/>
          </a:prstGeom>
        </p:spPr>
        <p:txBody>
          <a:bodyPr>
            <a:noAutofit/>
          </a:bodyPr>
          <a:lstStyle>
            <a:lvl1pPr>
              <a:lnSpc>
                <a:spcPts val="1650"/>
              </a:lnSpc>
              <a:defRPr sz="120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Tree>
    <p:extLst>
      <p:ext uri="{BB962C8B-B14F-4D97-AF65-F5344CB8AC3E}">
        <p14:creationId xmlns:p14="http://schemas.microsoft.com/office/powerpoint/2010/main" val="38361467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305991" y="1932114"/>
            <a:ext cx="4050507" cy="4521074"/>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4787503" y="1932114"/>
            <a:ext cx="4050506" cy="4519865"/>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305991" y="1420990"/>
            <a:ext cx="4050507" cy="360000"/>
          </a:xfrm>
          <a:prstGeom prst="rect">
            <a:avLst/>
          </a:prstGeom>
        </p:spPr>
        <p:txBody>
          <a:bodyPr>
            <a:noAutofit/>
          </a:bodyPr>
          <a:lstStyle>
            <a:lvl1pPr>
              <a:lnSpc>
                <a:spcPts val="1650"/>
              </a:lnSpc>
              <a:defRPr sz="120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4787503" y="1420990"/>
            <a:ext cx="4050507" cy="360000"/>
          </a:xfrm>
          <a:prstGeom prst="rect">
            <a:avLst/>
          </a:prstGeom>
        </p:spPr>
        <p:txBody>
          <a:bodyPr>
            <a:noAutofit/>
          </a:bodyPr>
          <a:lstStyle>
            <a:lvl1pPr>
              <a:lnSpc>
                <a:spcPts val="1650"/>
              </a:lnSpc>
              <a:defRPr sz="120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6" name="Footer Placeholder 5"/>
          <p:cNvSpPr>
            <a:spLocks noGrp="1"/>
          </p:cNvSpPr>
          <p:nvPr>
            <p:ph type="ftr" sz="quarter" idx="15"/>
          </p:nvPr>
        </p:nvSpPr>
        <p:spPr/>
        <p:txBody>
          <a:bodyPr/>
          <a:lstStyle/>
          <a:p>
            <a:r>
              <a:rPr lang="en-US"/>
              <a:t>Virtualiation (2).pptx</a:t>
            </a:r>
            <a:endParaRPr lang="en-US" dirty="0"/>
          </a:p>
        </p:txBody>
      </p:sp>
      <p:sp>
        <p:nvSpPr>
          <p:cNvPr id="7" name="Slide Number Placeholder 6"/>
          <p:cNvSpPr>
            <a:spLocks noGrp="1"/>
          </p:cNvSpPr>
          <p:nvPr>
            <p:ph type="sldNum" sz="quarter" idx="16"/>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9144000" cy="23761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319866"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6163390"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3241628" y="1423338"/>
            <a:ext cx="2674620" cy="412363"/>
          </a:xfrm>
          <a:prstGeom prst="rect">
            <a:avLst/>
          </a:prstGeom>
          <a:noFill/>
        </p:spPr>
        <p:txBody>
          <a:bodyPr anchor="ctr">
            <a:noAutofit/>
          </a:bodyPr>
          <a:lstStyle>
            <a:lvl1pPr algn="l">
              <a:defRPr sz="1350" b="0">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305991" y="4231997"/>
            <a:ext cx="8532019"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319866"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3241628"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6163390" y="1866556"/>
            <a:ext cx="2674620" cy="1994493"/>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9866" y="4674188"/>
            <a:ext cx="8518144" cy="1799211"/>
          </a:xfrm>
          <a:prstGeom prst="rect">
            <a:avLst/>
          </a:prstGeom>
        </p:spPr>
        <p:txBody>
          <a:bodyPr>
            <a:noAutofit/>
          </a:bodyPr>
          <a:lstStyle>
            <a:lvl1pPr>
              <a:lnSpc>
                <a:spcPts val="1200"/>
              </a:lnSpc>
              <a:defRPr sz="1050">
                <a:solidFill>
                  <a:schemeClr val="tx1"/>
                </a:solidFill>
              </a:defRPr>
            </a:lvl1pPr>
            <a:lvl2pPr marL="129779" indent="-126206">
              <a:lnSpc>
                <a:spcPts val="1050"/>
              </a:lnSpc>
              <a:defRPr sz="900">
                <a:solidFill>
                  <a:schemeClr val="tx1"/>
                </a:solidFill>
              </a:defRPr>
            </a:lvl2pPr>
            <a:lvl3pPr marL="260747" indent="-130969">
              <a:lnSpc>
                <a:spcPts val="1050"/>
              </a:lnSpc>
              <a:defRPr sz="900">
                <a:solidFill>
                  <a:schemeClr val="tx1"/>
                </a:solidFill>
              </a:defRPr>
            </a:lvl3pPr>
            <a:lvl4pPr marL="382191" indent="-121444">
              <a:lnSpc>
                <a:spcPts val="900"/>
              </a:lnSpc>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cxnSp>
        <p:nvCxnSpPr>
          <p:cNvPr id="2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867657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 name="Title 4"/>
          <p:cNvSpPr>
            <a:spLocks noGrp="1"/>
          </p:cNvSpPr>
          <p:nvPr>
            <p:ph type="title"/>
          </p:nvPr>
        </p:nvSpPr>
        <p:spPr/>
        <p:txBody>
          <a:bodyPr/>
          <a:lstStyle/>
          <a:p>
            <a:r>
              <a:rPr lang="en-US"/>
              <a:t>Click to edit Master title style</a:t>
            </a:r>
            <a:endParaRPr lang="de-DE"/>
          </a:p>
        </p:txBody>
      </p:sp>
      <p:sp>
        <p:nvSpPr>
          <p:cNvPr id="7" name="Footer Placeholder 6"/>
          <p:cNvSpPr>
            <a:spLocks noGrp="1"/>
          </p:cNvSpPr>
          <p:nvPr>
            <p:ph type="ftr" sz="quarter" idx="37"/>
          </p:nvPr>
        </p:nvSpPr>
        <p:spPr/>
        <p:txBody>
          <a:bodyPr/>
          <a:lstStyle/>
          <a:p>
            <a:r>
              <a:rPr lang="en-US"/>
              <a:t>Virtualiation (2).pptx</a:t>
            </a:r>
            <a:endParaRPr lang="en-US" dirty="0"/>
          </a:p>
        </p:txBody>
      </p:sp>
      <p:sp>
        <p:nvSpPr>
          <p:cNvPr id="8" name="Slide Number Placeholder 7"/>
          <p:cNvSpPr>
            <a:spLocks noGrp="1"/>
          </p:cNvSpPr>
          <p:nvPr>
            <p:ph type="sldNum" sz="quarter" idx="38"/>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40959320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eft Blue Shape and Tex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3089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4" name="Footer Placeholder 3"/>
          <p:cNvSpPr>
            <a:spLocks noGrp="1"/>
          </p:cNvSpPr>
          <p:nvPr>
            <p:ph type="ftr" sz="quarter" idx="37"/>
          </p:nvPr>
        </p:nvSpPr>
        <p:spPr/>
        <p:txBody>
          <a:bodyPr/>
          <a:lstStyle/>
          <a:p>
            <a:r>
              <a:rPr lang="en-US"/>
              <a:t>Virtualiation (2).pptx</a:t>
            </a:r>
            <a:endParaRPr lang="en-US" dirty="0"/>
          </a:p>
        </p:txBody>
      </p:sp>
      <p:sp>
        <p:nvSpPr>
          <p:cNvPr id="5" name="Slide Number Placeholder 4"/>
          <p:cNvSpPr>
            <a:spLocks noGrp="1"/>
          </p:cNvSpPr>
          <p:nvPr>
            <p:ph type="sldNum" sz="quarter" idx="38"/>
          </p:nvPr>
        </p:nvSpPr>
        <p:spPr/>
        <p:txBody>
          <a:bodyPr/>
          <a:lstStyle/>
          <a:p>
            <a:pPr algn="r"/>
            <a:fld id="{DD205EFF-948D-4AF6-B54C-65639188FB5F}" type="slidenum">
              <a:rPr lang="en-US" smtClean="0"/>
              <a:pPr algn="r"/>
              <a:t>‹#›</a:t>
            </a:fld>
            <a:endParaRPr lang="en-US"/>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867657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6" name="Title 5"/>
          <p:cNvSpPr>
            <a:spLocks noGrp="1"/>
          </p:cNvSpPr>
          <p:nvPr>
            <p:ph type="title"/>
          </p:nvPr>
        </p:nvSpPr>
        <p:spPr/>
        <p:txBody>
          <a:bodyPr/>
          <a:lstStyle/>
          <a:p>
            <a:r>
              <a:rPr lang="en-US"/>
              <a:t>Click to edit Master title style</a:t>
            </a:r>
            <a:endParaRPr lang="de-DE"/>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1412875"/>
            <a:ext cx="1657350" cy="5067300"/>
          </a:xfrm>
          <a:prstGeom prst="rect">
            <a:avLst/>
          </a:prstGeom>
        </p:spPr>
      </p:pic>
      <p:sp>
        <p:nvSpPr>
          <p:cNvPr id="14" name="Text Placeholder 7"/>
          <p:cNvSpPr>
            <a:spLocks noGrp="1"/>
          </p:cNvSpPr>
          <p:nvPr>
            <p:ph type="body" sz="quarter" idx="14"/>
          </p:nvPr>
        </p:nvSpPr>
        <p:spPr>
          <a:xfrm>
            <a:off x="1413474" y="1412875"/>
            <a:ext cx="7425000" cy="161583"/>
          </a:xfrm>
        </p:spPr>
        <p:txBody>
          <a:bodyPr>
            <a:spAutoFit/>
          </a:bodyPr>
          <a:lstStyle>
            <a:lvl1pPr>
              <a:defRPr>
                <a:solidFill>
                  <a:schemeClr val="accent2"/>
                </a:solidFill>
              </a:defRPr>
            </a:lvl1pPr>
          </a:lstStyle>
          <a:p>
            <a:pPr lvl="0"/>
            <a:r>
              <a:rPr lang="en-US"/>
              <a:t>Edit Master text styles</a:t>
            </a:r>
          </a:p>
        </p:txBody>
      </p:sp>
    </p:spTree>
    <p:extLst>
      <p:ext uri="{BB962C8B-B14F-4D97-AF65-F5344CB8AC3E}">
        <p14:creationId xmlns:p14="http://schemas.microsoft.com/office/powerpoint/2010/main" val="36616996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eft Red Shape and Tex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3800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4" name="Footer Placeholder 3"/>
          <p:cNvSpPr>
            <a:spLocks noGrp="1"/>
          </p:cNvSpPr>
          <p:nvPr>
            <p:ph type="ftr" sz="quarter" idx="37"/>
          </p:nvPr>
        </p:nvSpPr>
        <p:spPr/>
        <p:txBody>
          <a:bodyPr/>
          <a:lstStyle/>
          <a:p>
            <a:r>
              <a:rPr lang="en-US"/>
              <a:t>Virtualiation (2).pptx</a:t>
            </a:r>
            <a:endParaRPr lang="en-US" dirty="0"/>
          </a:p>
        </p:txBody>
      </p:sp>
      <p:sp>
        <p:nvSpPr>
          <p:cNvPr id="5" name="Slide Number Placeholder 4"/>
          <p:cNvSpPr>
            <a:spLocks noGrp="1"/>
          </p:cNvSpPr>
          <p:nvPr>
            <p:ph type="sldNum" sz="quarter" idx="38"/>
          </p:nvPr>
        </p:nvSpPr>
        <p:spPr/>
        <p:txBody>
          <a:bodyPr/>
          <a:lstStyle/>
          <a:p>
            <a:pPr algn="r"/>
            <a:fld id="{DD205EFF-948D-4AF6-B54C-65639188FB5F}" type="slidenum">
              <a:rPr lang="en-US" smtClean="0"/>
              <a:pPr algn="r"/>
              <a:t>‹#›</a:t>
            </a:fld>
            <a:endParaRPr lang="en-US"/>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867657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6" name="Title 5"/>
          <p:cNvSpPr>
            <a:spLocks noGrp="1"/>
          </p:cNvSpPr>
          <p:nvPr>
            <p:ph type="title"/>
          </p:nvPr>
        </p:nvSpPr>
        <p:spPr/>
        <p:txBody>
          <a:bodyPr/>
          <a:lstStyle/>
          <a:p>
            <a:r>
              <a:rPr lang="en-US"/>
              <a:t>Click to edit Master title style</a:t>
            </a:r>
            <a:endParaRPr lang="de-DE"/>
          </a:p>
        </p:txBody>
      </p:sp>
      <p:sp>
        <p:nvSpPr>
          <p:cNvPr id="14" name="Text Placeholder 7"/>
          <p:cNvSpPr>
            <a:spLocks noGrp="1"/>
          </p:cNvSpPr>
          <p:nvPr>
            <p:ph type="body" sz="quarter" idx="14"/>
          </p:nvPr>
        </p:nvSpPr>
        <p:spPr>
          <a:xfrm>
            <a:off x="1413474" y="1412875"/>
            <a:ext cx="7425000" cy="161583"/>
          </a:xfrm>
        </p:spPr>
        <p:txBody>
          <a:bodyPr>
            <a:spAutoFit/>
          </a:bodyPr>
          <a:lstStyle>
            <a:lvl1pPr>
              <a:defRPr>
                <a:solidFill>
                  <a:schemeClr val="accent2"/>
                </a:solidFill>
              </a:defRPr>
            </a:lvl1pPr>
          </a:lstStyle>
          <a:p>
            <a:pPr lvl="0"/>
            <a:r>
              <a:rPr lang="en-US"/>
              <a:t>Edit Master text styles</a:t>
            </a:r>
          </a:p>
        </p:txBody>
      </p:sp>
      <p:pic>
        <p:nvPicPr>
          <p:cNvPr id="15" name="Graphic 8">
            <a:extLst>
              <a:ext uri="{FF2B5EF4-FFF2-40B4-BE49-F238E27FC236}">
                <a16:creationId xmlns:a16="http://schemas.microsoft.com/office/drawing/2014/main" id="{BEB011C7-5067-4A7D-A5A2-FB9132A5D7A3}"/>
              </a:ext>
            </a:extLst>
          </p:cNvPr>
          <p:cNvPicPr>
            <a:picLocks noChangeAspect="1"/>
          </p:cNvPicPr>
          <p:nvPr userDrawn="1"/>
        </p:nvPicPr>
        <p:blipFill>
          <a:blip r:embed="rId6">
            <a:extLst>
              <a:ext uri="{96DAC541-7B7A-43D3-8B79-37D633B846F1}">
                <asvg:svgBlip xmlns:asvg="http://schemas.microsoft.com/office/drawing/2016/SVG/main" r:embed="rId7"/>
              </a:ext>
            </a:extLst>
          </a:blip>
          <a:srcRect t="45009" r="3903"/>
          <a:stretch>
            <a:fillRect/>
          </a:stretch>
        </p:blipFill>
        <p:spPr>
          <a:xfrm rot="15233129">
            <a:off x="-1911484" y="2687496"/>
            <a:ext cx="4838335" cy="2106000"/>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Tree>
    <p:extLst>
      <p:ext uri="{BB962C8B-B14F-4D97-AF65-F5344CB8AC3E}">
        <p14:creationId xmlns:p14="http://schemas.microsoft.com/office/powerpoint/2010/main" val="22273324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op Red Shape and Tex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3090530310"/>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660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pic>
        <p:nvPicPr>
          <p:cNvPr id="9" name="Graphic 8">
            <a:extLst>
              <a:ext uri="{FF2B5EF4-FFF2-40B4-BE49-F238E27FC236}">
                <a16:creationId xmlns:a16="http://schemas.microsoft.com/office/drawing/2014/main" id="{BEB011C7-5067-4A7D-A5A2-FB9132A5D7A3}"/>
              </a:ext>
            </a:extLst>
          </p:cNvPr>
          <p:cNvPicPr>
            <a:picLocks noChangeAspect="1"/>
          </p:cNvPicPr>
          <p:nvPr userDrawn="1"/>
        </p:nvPicPr>
        <p:blipFill>
          <a:blip r:embed="rId6">
            <a:extLst>
              <a:ext uri="{96DAC541-7B7A-43D3-8B79-37D633B846F1}">
                <asvg:svgBlip xmlns:asvg="http://schemas.microsoft.com/office/drawing/2016/SVG/main" r:embed="rId7"/>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8">
            <a:extLst>
              <a:ext uri="{96DAC541-7B7A-43D3-8B79-37D633B846F1}">
                <asvg:svgBlip xmlns:asvg="http://schemas.microsoft.com/office/drawing/2016/SVG/main" r:embed="rId9"/>
              </a:ext>
            </a:extLst>
          </a:blip>
          <a:srcRect l="81836" t="-4713" b="16530"/>
          <a:stretch/>
        </p:blipFill>
        <p:spPr>
          <a:xfrm>
            <a:off x="8660845" y="188640"/>
            <a:ext cx="318267" cy="459624"/>
          </a:xfrm>
          <a:prstGeom prst="rect">
            <a:avLst/>
          </a:prstGeom>
        </p:spPr>
      </p:pic>
      <p:sp>
        <p:nvSpPr>
          <p:cNvPr id="4" name="Footer Placeholder 3"/>
          <p:cNvSpPr>
            <a:spLocks noGrp="1"/>
          </p:cNvSpPr>
          <p:nvPr>
            <p:ph type="ftr" sz="quarter" idx="37"/>
          </p:nvPr>
        </p:nvSpPr>
        <p:spPr/>
        <p:txBody>
          <a:bodyPr/>
          <a:lstStyle/>
          <a:p>
            <a:r>
              <a:rPr lang="en-US"/>
              <a:t>Virtualiation (2).pptx</a:t>
            </a: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867657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6" name="Title 5"/>
          <p:cNvSpPr>
            <a:spLocks noGrp="1"/>
          </p:cNvSpPr>
          <p:nvPr>
            <p:ph type="title"/>
          </p:nvPr>
        </p:nvSpPr>
        <p:spPr/>
        <p:txBody>
          <a:bodyPr/>
          <a:lstStyle/>
          <a:p>
            <a:r>
              <a:rPr lang="en-US"/>
              <a:t>Click to edit Master title style</a:t>
            </a:r>
            <a:endParaRPr lang="de-DE"/>
          </a:p>
        </p:txBody>
      </p:sp>
      <p:sp>
        <p:nvSpPr>
          <p:cNvPr id="13" name="Slide Number Placeholder 4"/>
          <p:cNvSpPr>
            <a:spLocks noGrp="1"/>
          </p:cNvSpPr>
          <p:nvPr>
            <p:ph type="sldNum" sz="quarter" idx="39"/>
          </p:nvPr>
        </p:nvSpPr>
        <p:spPr>
          <a:xfrm>
            <a:off x="8838010" y="6555758"/>
            <a:ext cx="92816" cy="215444"/>
          </a:xfrm>
        </p:spPr>
        <p:txBody>
          <a:bodyPr/>
          <a:lstStyle/>
          <a:p>
            <a:pPr algn="r"/>
            <a:fld id="{DD205EFF-948D-4AF6-B54C-65639188FB5F}" type="slidenum">
              <a:rPr lang="en-US" smtClean="0"/>
              <a:pPr algn="r"/>
              <a:t>‹#›</a:t>
            </a:fld>
            <a:endParaRPr lang="en-US"/>
          </a:p>
        </p:txBody>
      </p:sp>
    </p:spTree>
    <p:extLst>
      <p:ext uri="{BB962C8B-B14F-4D97-AF65-F5344CB8AC3E}">
        <p14:creationId xmlns:p14="http://schemas.microsoft.com/office/powerpoint/2010/main" val="323186414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Virtualiation (2).pptx</a:t>
            </a:r>
            <a:endParaRPr lang="en-US" dirty="0"/>
          </a:p>
        </p:txBody>
      </p:sp>
      <p:sp>
        <p:nvSpPr>
          <p:cNvPr id="7" name="Slide Number Placeholder 6"/>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32180858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Blank-White">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Virtualiation (2).pptx</a:t>
            </a:r>
            <a:endParaRPr lang="en-US" dirty="0"/>
          </a:p>
        </p:txBody>
      </p:sp>
      <p:sp>
        <p:nvSpPr>
          <p:cNvPr id="7" name="Slide Number Placeholder 6"/>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50915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2">
    <p:bg>
      <p:bgPr>
        <a:solidFill>
          <a:schemeClr val="bg2"/>
        </a:solidFill>
        <a:effectLst/>
      </p:bgPr>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4021751014"/>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229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10" name="Freeform 5"/>
          <p:cNvSpPr>
            <a:spLocks/>
          </p:cNvSpPr>
          <p:nvPr userDrawn="1"/>
        </p:nvSpPr>
        <p:spPr bwMode="auto">
          <a:xfrm>
            <a:off x="1678782" y="927100"/>
            <a:ext cx="7465219" cy="5930900"/>
          </a:xfrm>
          <a:custGeom>
            <a:avLst/>
            <a:gdLst>
              <a:gd name="T0" fmla="*/ 2651 w 2651"/>
              <a:gd name="T1" fmla="*/ 1579 h 1579"/>
              <a:gd name="T2" fmla="*/ 77 w 2651"/>
              <a:gd name="T3" fmla="*/ 1579 h 1579"/>
              <a:gd name="T4" fmla="*/ 74 w 2651"/>
              <a:gd name="T5" fmla="*/ 1571 h 1579"/>
              <a:gd name="T6" fmla="*/ 19 w 2651"/>
              <a:gd name="T7" fmla="*/ 1324 h 1579"/>
              <a:gd name="T8" fmla="*/ 2 w 2651"/>
              <a:gd name="T9" fmla="*/ 1163 h 1579"/>
              <a:gd name="T10" fmla="*/ 0 w 2651"/>
              <a:gd name="T11" fmla="*/ 1129 h 1579"/>
              <a:gd name="T12" fmla="*/ 0 w 2651"/>
              <a:gd name="T13" fmla="*/ 1054 h 1579"/>
              <a:gd name="T14" fmla="*/ 1 w 2651"/>
              <a:gd name="T15" fmla="*/ 1048 h 1579"/>
              <a:gd name="T16" fmla="*/ 5 w 2651"/>
              <a:gd name="T17" fmla="*/ 973 h 1579"/>
              <a:gd name="T18" fmla="*/ 29 w 2651"/>
              <a:gd name="T19" fmla="*/ 824 h 1579"/>
              <a:gd name="T20" fmla="*/ 141 w 2651"/>
              <a:gd name="T21" fmla="*/ 541 h 1579"/>
              <a:gd name="T22" fmla="*/ 316 w 2651"/>
              <a:gd name="T23" fmla="*/ 309 h 1579"/>
              <a:gd name="T24" fmla="*/ 432 w 2651"/>
              <a:gd name="T25" fmla="*/ 200 h 1579"/>
              <a:gd name="T26" fmla="*/ 625 w 2651"/>
              <a:gd name="T27" fmla="*/ 56 h 1579"/>
              <a:gd name="T28" fmla="*/ 712 w 2651"/>
              <a:gd name="T29" fmla="*/ 0 h 1579"/>
              <a:gd name="T30" fmla="*/ 714 w 2651"/>
              <a:gd name="T31" fmla="*/ 0 h 1579"/>
              <a:gd name="T32" fmla="*/ 718 w 2651"/>
              <a:gd name="T33" fmla="*/ 3 h 1579"/>
              <a:gd name="T34" fmla="*/ 921 w 2651"/>
              <a:gd name="T35" fmla="*/ 110 h 1579"/>
              <a:gd name="T36" fmla="*/ 1211 w 2651"/>
              <a:gd name="T37" fmla="*/ 250 h 1579"/>
              <a:gd name="T38" fmla="*/ 1535 w 2651"/>
              <a:gd name="T39" fmla="*/ 384 h 1579"/>
              <a:gd name="T40" fmla="*/ 1706 w 2651"/>
              <a:gd name="T41" fmla="*/ 443 h 1579"/>
              <a:gd name="T42" fmla="*/ 2045 w 2651"/>
              <a:gd name="T43" fmla="*/ 528 h 1579"/>
              <a:gd name="T44" fmla="*/ 2329 w 2651"/>
              <a:gd name="T45" fmla="*/ 552 h 1579"/>
              <a:gd name="T46" fmla="*/ 2421 w 2651"/>
              <a:gd name="T47" fmla="*/ 546 h 1579"/>
              <a:gd name="T48" fmla="*/ 2639 w 2651"/>
              <a:gd name="T49" fmla="*/ 486 h 1579"/>
              <a:gd name="T50" fmla="*/ 2651 w 2651"/>
              <a:gd name="T51" fmla="*/ 493 h 1579"/>
              <a:gd name="T52" fmla="*/ 2651 w 2651"/>
              <a:gd name="T53" fmla="*/ 1569 h 1579"/>
              <a:gd name="T54" fmla="*/ 2651 w 2651"/>
              <a:gd name="T55" fmla="*/ 1579 h 1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1" h="1579">
                <a:moveTo>
                  <a:pt x="2651" y="1579"/>
                </a:moveTo>
                <a:cubicBezTo>
                  <a:pt x="1793" y="1579"/>
                  <a:pt x="935" y="1579"/>
                  <a:pt x="77" y="1579"/>
                </a:cubicBezTo>
                <a:cubicBezTo>
                  <a:pt x="76" y="1576"/>
                  <a:pt x="75" y="1574"/>
                  <a:pt x="74" y="1571"/>
                </a:cubicBezTo>
                <a:cubicBezTo>
                  <a:pt x="51" y="1490"/>
                  <a:pt x="32" y="1407"/>
                  <a:pt x="19" y="1324"/>
                </a:cubicBezTo>
                <a:cubicBezTo>
                  <a:pt x="10" y="1270"/>
                  <a:pt x="5" y="1217"/>
                  <a:pt x="2" y="1163"/>
                </a:cubicBezTo>
                <a:cubicBezTo>
                  <a:pt x="1" y="1152"/>
                  <a:pt x="2" y="1140"/>
                  <a:pt x="0" y="1129"/>
                </a:cubicBezTo>
                <a:cubicBezTo>
                  <a:pt x="0" y="1104"/>
                  <a:pt x="0" y="1079"/>
                  <a:pt x="0" y="1054"/>
                </a:cubicBezTo>
                <a:cubicBezTo>
                  <a:pt x="0" y="1052"/>
                  <a:pt x="1" y="1050"/>
                  <a:pt x="1" y="1048"/>
                </a:cubicBezTo>
                <a:cubicBezTo>
                  <a:pt x="1" y="1023"/>
                  <a:pt x="3" y="998"/>
                  <a:pt x="5" y="973"/>
                </a:cubicBezTo>
                <a:cubicBezTo>
                  <a:pt x="10" y="923"/>
                  <a:pt x="18" y="873"/>
                  <a:pt x="29" y="824"/>
                </a:cubicBezTo>
                <a:cubicBezTo>
                  <a:pt x="53" y="724"/>
                  <a:pt x="90" y="630"/>
                  <a:pt x="141" y="541"/>
                </a:cubicBezTo>
                <a:cubicBezTo>
                  <a:pt x="190" y="457"/>
                  <a:pt x="249" y="380"/>
                  <a:pt x="316" y="309"/>
                </a:cubicBezTo>
                <a:cubicBezTo>
                  <a:pt x="352" y="271"/>
                  <a:pt x="391" y="235"/>
                  <a:pt x="432" y="200"/>
                </a:cubicBezTo>
                <a:cubicBezTo>
                  <a:pt x="493" y="148"/>
                  <a:pt x="558" y="100"/>
                  <a:pt x="625" y="56"/>
                </a:cubicBezTo>
                <a:cubicBezTo>
                  <a:pt x="653" y="37"/>
                  <a:pt x="683" y="19"/>
                  <a:pt x="712" y="0"/>
                </a:cubicBezTo>
                <a:cubicBezTo>
                  <a:pt x="712" y="0"/>
                  <a:pt x="713" y="0"/>
                  <a:pt x="714" y="0"/>
                </a:cubicBezTo>
                <a:cubicBezTo>
                  <a:pt x="715" y="1"/>
                  <a:pt x="717" y="2"/>
                  <a:pt x="718" y="3"/>
                </a:cubicBezTo>
                <a:cubicBezTo>
                  <a:pt x="785" y="39"/>
                  <a:pt x="853" y="75"/>
                  <a:pt x="921" y="110"/>
                </a:cubicBezTo>
                <a:cubicBezTo>
                  <a:pt x="1017" y="159"/>
                  <a:pt x="1113" y="206"/>
                  <a:pt x="1211" y="250"/>
                </a:cubicBezTo>
                <a:cubicBezTo>
                  <a:pt x="1318" y="298"/>
                  <a:pt x="1425" y="344"/>
                  <a:pt x="1535" y="384"/>
                </a:cubicBezTo>
                <a:cubicBezTo>
                  <a:pt x="1591" y="405"/>
                  <a:pt x="1648" y="425"/>
                  <a:pt x="1706" y="443"/>
                </a:cubicBezTo>
                <a:cubicBezTo>
                  <a:pt x="1817" y="478"/>
                  <a:pt x="1930" y="508"/>
                  <a:pt x="2045" y="528"/>
                </a:cubicBezTo>
                <a:cubicBezTo>
                  <a:pt x="2139" y="544"/>
                  <a:pt x="2234" y="554"/>
                  <a:pt x="2329" y="552"/>
                </a:cubicBezTo>
                <a:cubicBezTo>
                  <a:pt x="2360" y="551"/>
                  <a:pt x="2390" y="549"/>
                  <a:pt x="2421" y="546"/>
                </a:cubicBezTo>
                <a:cubicBezTo>
                  <a:pt x="2497" y="537"/>
                  <a:pt x="2570" y="519"/>
                  <a:pt x="2639" y="486"/>
                </a:cubicBezTo>
                <a:cubicBezTo>
                  <a:pt x="2651" y="480"/>
                  <a:pt x="2651" y="479"/>
                  <a:pt x="2651" y="493"/>
                </a:cubicBezTo>
                <a:cubicBezTo>
                  <a:pt x="2651" y="852"/>
                  <a:pt x="2651" y="1210"/>
                  <a:pt x="2651" y="1569"/>
                </a:cubicBezTo>
                <a:cubicBezTo>
                  <a:pt x="2651" y="1572"/>
                  <a:pt x="2651" y="1576"/>
                  <a:pt x="2651" y="1579"/>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de-DE" sz="135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Grey">
    <p:bg>
      <p:bgPr>
        <a:solidFill>
          <a:schemeClr val="bg2"/>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Virtualiation (2).pptx</a:t>
            </a:r>
            <a:endParaRPr lang="en-US" dirty="0"/>
          </a:p>
        </p:txBody>
      </p:sp>
      <p:sp>
        <p:nvSpPr>
          <p:cNvPr id="7" name="Slide Number Placeholder 6"/>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5258316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17B390E6-46A0-4BED-B3E2-3051836E07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295333758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losing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4001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31" name="Freeform 30"/>
          <p:cNvSpPr>
            <a:spLocks/>
          </p:cNvSpPr>
          <p:nvPr userDrawn="1"/>
        </p:nvSpPr>
        <p:spPr bwMode="auto">
          <a:xfrm>
            <a:off x="-932258" y="-24026"/>
            <a:ext cx="5389286" cy="6882026"/>
          </a:xfrm>
          <a:custGeom>
            <a:avLst/>
            <a:gdLst>
              <a:gd name="connsiteX0" fmla="*/ 0 w 7185715"/>
              <a:gd name="connsiteY0" fmla="*/ 0 h 6882026"/>
              <a:gd name="connsiteX1" fmla="*/ 3168506 w 7185715"/>
              <a:gd name="connsiteY1" fmla="*/ 0 h 6882026"/>
              <a:gd name="connsiteX2" fmla="*/ 3259948 w 7185715"/>
              <a:gd name="connsiteY2" fmla="*/ 234708 h 6882026"/>
              <a:gd name="connsiteX3" fmla="*/ 6624524 w 7185715"/>
              <a:gd name="connsiteY3" fmla="*/ 2442570 h 6882026"/>
              <a:gd name="connsiteX4" fmla="*/ 5176874 w 7185715"/>
              <a:gd name="connsiteY4" fmla="*/ 6783435 h 6882026"/>
              <a:gd name="connsiteX5" fmla="*/ 5038873 w 7185715"/>
              <a:gd name="connsiteY5" fmla="*/ 6882026 h 6882026"/>
              <a:gd name="connsiteX6" fmla="*/ 0 w 7185715"/>
              <a:gd name="connsiteY6" fmla="*/ 6882026 h 6882026"/>
              <a:gd name="connsiteX7" fmla="*/ 0 w 7185715"/>
              <a:gd name="connsiteY7" fmla="*/ 6773906 h 6882026"/>
              <a:gd name="connsiteX8" fmla="*/ 0 w 7185715"/>
              <a:gd name="connsiteY8" fmla="*/ 348236 h 688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5715" h="6882026">
                <a:moveTo>
                  <a:pt x="0" y="0"/>
                </a:moveTo>
                <a:lnTo>
                  <a:pt x="3168506" y="0"/>
                </a:lnTo>
                <a:lnTo>
                  <a:pt x="3259948" y="234708"/>
                </a:lnTo>
                <a:cubicBezTo>
                  <a:pt x="4449714" y="3049094"/>
                  <a:pt x="7081323" y="3736323"/>
                  <a:pt x="6624524" y="2442570"/>
                </a:cubicBezTo>
                <a:cubicBezTo>
                  <a:pt x="7362810" y="2721962"/>
                  <a:pt x="7782710" y="4869074"/>
                  <a:pt x="5176874" y="6783435"/>
                </a:cubicBezTo>
                <a:lnTo>
                  <a:pt x="5038873" y="6882026"/>
                </a:lnTo>
                <a:lnTo>
                  <a:pt x="0" y="6882026"/>
                </a:lnTo>
                <a:lnTo>
                  <a:pt x="0" y="6773906"/>
                </a:lnTo>
                <a:cubicBezTo>
                  <a:pt x="0" y="5536331"/>
                  <a:pt x="0" y="3546755"/>
                  <a:pt x="0" y="348236"/>
                </a:cubicBezTo>
                <a:close/>
              </a:path>
            </a:pathLst>
          </a:custGeom>
          <a:solidFill>
            <a:schemeClr val="accent2">
              <a:lumMod val="40000"/>
              <a:lumOff val="60000"/>
            </a:schemeClr>
          </a:solidFill>
          <a:ln>
            <a:noFill/>
          </a:ln>
          <a:extLst/>
        </p:spPr>
        <p:txBody>
          <a:bodyPr vert="horz" wrap="square" lIns="68580" tIns="34290" rIns="68580" bIns="34290" numCol="1" anchor="t" anchorCtr="0" compatLnSpc="1">
            <a:prstTxWarp prst="textNoShape">
              <a:avLst/>
            </a:prstTxWarp>
            <a:noAutofit/>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pic>
        <p:nvPicPr>
          <p:cNvPr id="2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8660845" y="188640"/>
            <a:ext cx="318267" cy="459624"/>
          </a:xfrm>
          <a:prstGeom prst="rect">
            <a:avLst/>
          </a:prstGeom>
        </p:spPr>
      </p:pic>
      <p:sp>
        <p:nvSpPr>
          <p:cNvPr id="30" name="Rectangle 29"/>
          <p:cNvSpPr/>
          <p:nvPr userDrawn="1"/>
        </p:nvSpPr>
        <p:spPr>
          <a:xfrm>
            <a:off x="4902139" y="2886346"/>
            <a:ext cx="3674648"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675" kern="1200" dirty="0">
                <a:solidFill>
                  <a:schemeClr val="tx1"/>
                </a:solidFill>
                <a:effectLst/>
                <a:latin typeface="+mn-lt"/>
                <a:ea typeface="+mn-ea"/>
                <a:cs typeface="+mn-cs"/>
              </a:rPr>
              <a:t>A</a:t>
            </a:r>
            <a:r>
              <a:rPr lang="en-US" sz="675" kern="1200" baseline="0" dirty="0">
                <a:solidFill>
                  <a:schemeClr val="tx1"/>
                </a:solidFill>
                <a:effectLst/>
                <a:latin typeface="+mn-lt"/>
                <a:ea typeface="+mn-ea"/>
                <a:cs typeface="+mn-cs"/>
              </a:rPr>
              <a:t> </a:t>
            </a:r>
            <a:r>
              <a:rPr lang="en-US" sz="675" kern="1200" dirty="0">
                <a:solidFill>
                  <a:schemeClr val="tx1"/>
                </a:solidFill>
                <a:effectLst/>
                <a:latin typeface="+mn-lt"/>
                <a:ea typeface="+mn-ea"/>
                <a:cs typeface="+mn-cs"/>
              </a:rPr>
              <a:t>global leader in consulting, technology services and digital transformation, Capgemini is at the forefront of innovation to address the entire breadth of clients’ opportunities in the evolving world of cloud, digital and platforms. </a:t>
            </a:r>
            <a:r>
              <a:rPr lang="en-GB" sz="675"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675"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32" name="Rectangle 31"/>
          <p:cNvSpPr/>
          <p:nvPr userDrawn="1"/>
        </p:nvSpPr>
        <p:spPr>
          <a:xfrm>
            <a:off x="4902138" y="2507083"/>
            <a:ext cx="1664970" cy="172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tx2"/>
                </a:solidFill>
              </a:rPr>
              <a:t>About Capgemini</a:t>
            </a:r>
          </a:p>
        </p:txBody>
      </p:sp>
      <p:sp>
        <p:nvSpPr>
          <p:cNvPr id="33" name="Rectangle 32"/>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34" name="Picture 2" descr="D:\My Work\Template\Icons\Social Media\LinkedIN.png">
            <a:hlinkClick r:id="rId8"/>
          </p:cNvPr>
          <p:cNvPicPr>
            <a:picLocks noChangeAspect="1" noChangeArrowheads="1"/>
          </p:cNvPicPr>
          <p:nvPr userDrawn="1"/>
        </p:nvPicPr>
        <p:blipFill>
          <a:blip r:embed="rId9" cstate="print">
            <a:duotone>
              <a:prstClr val="black"/>
              <a:schemeClr val="tx1">
                <a:tint val="45000"/>
                <a:satMod val="400000"/>
              </a:schemeClr>
            </a:duotone>
            <a:extLst>
              <a:ext uri="{BEBA8EAE-BF5A-486C-A8C5-ECC9F3942E4B}">
                <a14:imgProps xmlns:a14="http://schemas.microsoft.com/office/drawing/2010/main">
                  <a14:imgLayer r:embed="rId10">
                    <a14:imgEffect>
                      <a14:brightnessContrast bright="-45000"/>
                    </a14:imgEffect>
                  </a14:imgLayer>
                </a14:imgProps>
              </a:ext>
            </a:extLst>
          </a:blip>
          <a:srcRect/>
          <a:stretch>
            <a:fillRect/>
          </a:stretch>
        </p:blipFill>
        <p:spPr bwMode="auto">
          <a:xfrm>
            <a:off x="607573" y="3979258"/>
            <a:ext cx="249896" cy="333195"/>
          </a:xfrm>
          <a:prstGeom prst="rect">
            <a:avLst/>
          </a:prstGeom>
          <a:noFill/>
        </p:spPr>
      </p:pic>
      <p:pic>
        <p:nvPicPr>
          <p:cNvPr id="35" name="Picture 4" descr="D:\My Work\Template\Icons\Social Media\SlideShare.png">
            <a:hlinkClick r:id="rId11"/>
          </p:cNvPr>
          <p:cNvPicPr>
            <a:picLocks noChangeAspect="1" noChangeArrowheads="1"/>
          </p:cNvPicPr>
          <p:nvPr userDrawn="1"/>
        </p:nvPicPr>
        <p:blipFill>
          <a:blip r:embed="rId12" cstate="print">
            <a:duotone>
              <a:prstClr val="black"/>
              <a:schemeClr val="tx1">
                <a:tint val="45000"/>
                <a:satMod val="400000"/>
              </a:schemeClr>
            </a:duotone>
            <a:extLst>
              <a:ext uri="{BEBA8EAE-BF5A-486C-A8C5-ECC9F3942E4B}">
                <a14:imgProps xmlns:a14="http://schemas.microsoft.com/office/drawing/2010/main">
                  <a14:imgLayer r:embed="rId13">
                    <a14:imgEffect>
                      <a14:brightnessContrast bright="-45000"/>
                    </a14:imgEffect>
                  </a14:imgLayer>
                </a14:imgProps>
              </a:ext>
            </a:extLst>
          </a:blip>
          <a:srcRect/>
          <a:stretch>
            <a:fillRect/>
          </a:stretch>
        </p:blipFill>
        <p:spPr bwMode="auto">
          <a:xfrm>
            <a:off x="895106" y="3979258"/>
            <a:ext cx="249896" cy="333195"/>
          </a:xfrm>
          <a:prstGeom prst="rect">
            <a:avLst/>
          </a:prstGeom>
          <a:noFill/>
        </p:spPr>
      </p:pic>
      <p:pic>
        <p:nvPicPr>
          <p:cNvPr id="36" name="Picture 5" descr="D:\My Work\Template\Icons\Social Media\Twitter.png">
            <a:hlinkClick r:id="rId14"/>
          </p:cNvPr>
          <p:cNvPicPr>
            <a:picLocks noChangeAspect="1" noChangeArrowheads="1"/>
          </p:cNvPicPr>
          <p:nvPr userDrawn="1"/>
        </p:nvPicPr>
        <p:blipFill>
          <a:blip r:embed="rId15" cstate="print">
            <a:duotone>
              <a:prstClr val="black"/>
              <a:schemeClr val="tx1">
                <a:tint val="45000"/>
                <a:satMod val="400000"/>
              </a:schemeClr>
            </a:duotone>
            <a:extLst>
              <a:ext uri="{BEBA8EAE-BF5A-486C-A8C5-ECC9F3942E4B}">
                <a14:imgProps xmlns:a14="http://schemas.microsoft.com/office/drawing/2010/main">
                  <a14:imgLayer r:embed="rId16">
                    <a14:imgEffect>
                      <a14:brightnessContrast bright="-45000"/>
                    </a14:imgEffect>
                  </a14:imgLayer>
                </a14:imgProps>
              </a:ext>
            </a:extLst>
          </a:blip>
          <a:srcRect/>
          <a:stretch>
            <a:fillRect/>
          </a:stretch>
        </p:blipFill>
        <p:spPr bwMode="auto">
          <a:xfrm>
            <a:off x="1182639" y="3979258"/>
            <a:ext cx="249896" cy="333195"/>
          </a:xfrm>
          <a:prstGeom prst="rect">
            <a:avLst/>
          </a:prstGeom>
          <a:noFill/>
        </p:spPr>
      </p:pic>
      <p:pic>
        <p:nvPicPr>
          <p:cNvPr id="37" name="Picture 6" descr="D:\My Work\Template\Icons\Social Media\YouTube.png">
            <a:hlinkClick r:id="rId17"/>
          </p:cNvPr>
          <p:cNvPicPr>
            <a:picLocks noChangeAspect="1" noChangeArrowheads="1"/>
          </p:cNvPicPr>
          <p:nvPr userDrawn="1"/>
        </p:nvPicPr>
        <p:blipFill>
          <a:blip r:embed="rId18" cstate="print">
            <a:duotone>
              <a:prstClr val="black"/>
              <a:schemeClr val="tx1">
                <a:tint val="45000"/>
                <a:satMod val="400000"/>
              </a:schemeClr>
            </a:duotone>
            <a:extLst>
              <a:ext uri="{BEBA8EAE-BF5A-486C-A8C5-ECC9F3942E4B}">
                <a14:imgProps xmlns:a14="http://schemas.microsoft.com/office/drawing/2010/main">
                  <a14:imgLayer r:embed="rId19">
                    <a14:imgEffect>
                      <a14:brightnessContrast bright="-45000"/>
                    </a14:imgEffect>
                  </a14:imgLayer>
                </a14:imgProps>
              </a:ext>
            </a:extLst>
          </a:blip>
          <a:srcRect/>
          <a:stretch>
            <a:fillRect/>
          </a:stretch>
        </p:blipFill>
        <p:spPr bwMode="auto">
          <a:xfrm>
            <a:off x="1470171" y="3979258"/>
            <a:ext cx="249896" cy="333195"/>
          </a:xfrm>
          <a:prstGeom prst="rect">
            <a:avLst/>
          </a:prstGeom>
          <a:noFill/>
        </p:spPr>
      </p:pic>
      <p:pic>
        <p:nvPicPr>
          <p:cNvPr id="38" name="Picture 7" descr="D:\My Work\Template\Icons\Social Media\Facebook.png">
            <a:hlinkClick r:id="rId20"/>
          </p:cNvPr>
          <p:cNvPicPr>
            <a:picLocks noChangeAspect="1" noChangeArrowheads="1"/>
          </p:cNvPicPr>
          <p:nvPr userDrawn="1"/>
        </p:nvPicPr>
        <p:blipFill>
          <a:blip r:embed="rId21" cstate="print">
            <a:duotone>
              <a:prstClr val="black"/>
              <a:schemeClr val="tx1">
                <a:tint val="45000"/>
                <a:satMod val="400000"/>
              </a:schemeClr>
            </a:duotone>
            <a:extLst>
              <a:ext uri="{BEBA8EAE-BF5A-486C-A8C5-ECC9F3942E4B}">
                <a14:imgProps xmlns:a14="http://schemas.microsoft.com/office/drawing/2010/main">
                  <a14:imgLayer r:embed="rId22">
                    <a14:imgEffect>
                      <a14:brightnessContrast bright="-45000"/>
                    </a14:imgEffect>
                  </a14:imgLayer>
                </a14:imgProps>
              </a:ext>
            </a:extLst>
          </a:blip>
          <a:srcRect/>
          <a:stretch>
            <a:fillRect/>
          </a:stretch>
        </p:blipFill>
        <p:spPr bwMode="auto">
          <a:xfrm>
            <a:off x="320041" y="3979258"/>
            <a:ext cx="249896" cy="333195"/>
          </a:xfrm>
          <a:prstGeom prst="rect">
            <a:avLst/>
          </a:prstGeom>
          <a:noFill/>
        </p:spPr>
      </p:pic>
      <p:sp>
        <p:nvSpPr>
          <p:cNvPr id="39" name="Rectangle 38"/>
          <p:cNvSpPr/>
          <p:nvPr userDrawn="1"/>
        </p:nvSpPr>
        <p:spPr>
          <a:xfrm>
            <a:off x="320040" y="5869182"/>
            <a:ext cx="3148965" cy="341119"/>
          </a:xfrm>
          <a:prstGeom prst="rect">
            <a:avLst/>
          </a:prstGeom>
        </p:spPr>
        <p:txBody>
          <a:bodyPr wrap="square" lIns="0" tIns="0" rIns="0" bIns="0" anchor="b" anchorCtr="0">
            <a:spAutoFit/>
          </a:bodyPr>
          <a:lstStyle/>
          <a:p>
            <a:pPr>
              <a:spcAft>
                <a:spcPts val="450"/>
              </a:spcAft>
            </a:pPr>
            <a:r>
              <a:rPr lang="en-US" sz="600" noProof="0" dirty="0">
                <a:solidFill>
                  <a:schemeClr val="bg2">
                    <a:lumMod val="50000"/>
                  </a:schemeClr>
                </a:solidFill>
                <a:latin typeface="+mn-lt"/>
                <a:cs typeface="Arial"/>
              </a:rPr>
              <a:t>This message contains information that may be privileged or confidential and is the property of the Capgemini Group.</a:t>
            </a:r>
          </a:p>
          <a:p>
            <a:pPr>
              <a:spcAft>
                <a:spcPts val="450"/>
              </a:spcAft>
            </a:pPr>
            <a:r>
              <a:rPr lang="en-US" sz="600" noProof="0" dirty="0">
                <a:solidFill>
                  <a:schemeClr val="bg2">
                    <a:lumMod val="50000"/>
                  </a:schemeClr>
                </a:solidFill>
                <a:latin typeface="Arial"/>
                <a:cs typeface="Arial"/>
              </a:rPr>
              <a:t>Copyright © 2017 Capgemini. All rights reserved.</a:t>
            </a:r>
          </a:p>
        </p:txBody>
      </p:sp>
      <p:sp>
        <p:nvSpPr>
          <p:cNvPr id="40" name="ZoneTexte 23"/>
          <p:cNvSpPr txBox="1"/>
          <p:nvPr userDrawn="1"/>
        </p:nvSpPr>
        <p:spPr>
          <a:xfrm>
            <a:off x="314441" y="4381708"/>
            <a:ext cx="1889941" cy="230832"/>
          </a:xfrm>
          <a:prstGeom prst="rect">
            <a:avLst/>
          </a:prstGeom>
          <a:noFill/>
        </p:spPr>
        <p:txBody>
          <a:bodyPr wrap="none" lIns="0" rIns="0" rtlCol="0">
            <a:spAutoFit/>
          </a:bodyPr>
          <a:lstStyle/>
          <a:p>
            <a:r>
              <a:rPr lang="en-US" sz="900" b="1" dirty="0">
                <a:solidFill>
                  <a:schemeClr val="accent2"/>
                </a:solidFill>
              </a:rPr>
              <a:t>People matter, results count.</a:t>
            </a:r>
          </a:p>
        </p:txBody>
      </p:sp>
    </p:spTree>
    <p:extLst>
      <p:ext uri="{BB962C8B-B14F-4D97-AF65-F5344CB8AC3E}">
        <p14:creationId xmlns:p14="http://schemas.microsoft.com/office/powerpoint/2010/main" val="6172488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_Closing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4306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31" name="Freeform 30"/>
          <p:cNvSpPr>
            <a:spLocks/>
          </p:cNvSpPr>
          <p:nvPr userDrawn="1"/>
        </p:nvSpPr>
        <p:spPr bwMode="auto">
          <a:xfrm>
            <a:off x="-932258" y="-24026"/>
            <a:ext cx="5389286" cy="6882026"/>
          </a:xfrm>
          <a:custGeom>
            <a:avLst/>
            <a:gdLst>
              <a:gd name="connsiteX0" fmla="*/ 0 w 7185715"/>
              <a:gd name="connsiteY0" fmla="*/ 0 h 6882026"/>
              <a:gd name="connsiteX1" fmla="*/ 3168506 w 7185715"/>
              <a:gd name="connsiteY1" fmla="*/ 0 h 6882026"/>
              <a:gd name="connsiteX2" fmla="*/ 3259948 w 7185715"/>
              <a:gd name="connsiteY2" fmla="*/ 234708 h 6882026"/>
              <a:gd name="connsiteX3" fmla="*/ 6624524 w 7185715"/>
              <a:gd name="connsiteY3" fmla="*/ 2442570 h 6882026"/>
              <a:gd name="connsiteX4" fmla="*/ 5176874 w 7185715"/>
              <a:gd name="connsiteY4" fmla="*/ 6783435 h 6882026"/>
              <a:gd name="connsiteX5" fmla="*/ 5038873 w 7185715"/>
              <a:gd name="connsiteY5" fmla="*/ 6882026 h 6882026"/>
              <a:gd name="connsiteX6" fmla="*/ 0 w 7185715"/>
              <a:gd name="connsiteY6" fmla="*/ 6882026 h 6882026"/>
              <a:gd name="connsiteX7" fmla="*/ 0 w 7185715"/>
              <a:gd name="connsiteY7" fmla="*/ 6773906 h 6882026"/>
              <a:gd name="connsiteX8" fmla="*/ 0 w 7185715"/>
              <a:gd name="connsiteY8" fmla="*/ 348236 h 688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5715" h="6882026">
                <a:moveTo>
                  <a:pt x="0" y="0"/>
                </a:moveTo>
                <a:lnTo>
                  <a:pt x="3168506" y="0"/>
                </a:lnTo>
                <a:lnTo>
                  <a:pt x="3259948" y="234708"/>
                </a:lnTo>
                <a:cubicBezTo>
                  <a:pt x="4449714" y="3049094"/>
                  <a:pt x="7081323" y="3736323"/>
                  <a:pt x="6624524" y="2442570"/>
                </a:cubicBezTo>
                <a:cubicBezTo>
                  <a:pt x="7362810" y="2721962"/>
                  <a:pt x="7782710" y="4869074"/>
                  <a:pt x="5176874" y="6783435"/>
                </a:cubicBezTo>
                <a:lnTo>
                  <a:pt x="5038873" y="6882026"/>
                </a:lnTo>
                <a:lnTo>
                  <a:pt x="0" y="6882026"/>
                </a:lnTo>
                <a:lnTo>
                  <a:pt x="0" y="6773906"/>
                </a:lnTo>
                <a:cubicBezTo>
                  <a:pt x="0" y="5536331"/>
                  <a:pt x="0" y="3546755"/>
                  <a:pt x="0" y="348236"/>
                </a:cubicBezTo>
                <a:close/>
              </a:path>
            </a:pathLst>
          </a:custGeom>
          <a:solidFill>
            <a:schemeClr val="accent5"/>
          </a:solidFill>
          <a:ln>
            <a:noFill/>
          </a:ln>
          <a:extLst/>
        </p:spPr>
        <p:txBody>
          <a:bodyPr vert="horz" wrap="square" lIns="68580" tIns="34290" rIns="68580" bIns="34290" numCol="1" anchor="t" anchorCtr="0" compatLnSpc="1">
            <a:prstTxWarp prst="textNoShape">
              <a:avLst/>
            </a:prstTxWarp>
            <a:noAutofit/>
          </a:bodyPr>
          <a:lstStyle/>
          <a:p>
            <a:endParaRPr lang="en-US" sz="1350" dirty="0"/>
          </a:p>
        </p:txBody>
      </p:sp>
      <p:grpSp>
        <p:nvGrpSpPr>
          <p:cNvPr id="9" name="Group 8"/>
          <p:cNvGrpSpPr/>
          <p:nvPr userDrawn="1"/>
        </p:nvGrpSpPr>
        <p:grpSpPr>
          <a:xfrm>
            <a:off x="3734277" y="2404111"/>
            <a:ext cx="551260"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pic>
        <p:nvPicPr>
          <p:cNvPr id="2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8660845" y="188640"/>
            <a:ext cx="318267" cy="459624"/>
          </a:xfrm>
          <a:prstGeom prst="rect">
            <a:avLst/>
          </a:prstGeom>
        </p:spPr>
      </p:pic>
      <p:sp>
        <p:nvSpPr>
          <p:cNvPr id="30" name="Rectangle 29"/>
          <p:cNvSpPr/>
          <p:nvPr userDrawn="1"/>
        </p:nvSpPr>
        <p:spPr>
          <a:xfrm>
            <a:off x="4902139" y="2886346"/>
            <a:ext cx="3674648"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675"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675"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675"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32" name="Rectangle 31"/>
          <p:cNvSpPr/>
          <p:nvPr userDrawn="1"/>
        </p:nvSpPr>
        <p:spPr>
          <a:xfrm>
            <a:off x="4902138" y="2507083"/>
            <a:ext cx="1664970" cy="172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tx2"/>
                </a:solidFill>
              </a:rPr>
              <a:t>About Capgemini</a:t>
            </a:r>
          </a:p>
        </p:txBody>
      </p:sp>
      <p:sp>
        <p:nvSpPr>
          <p:cNvPr id="33" name="Rectangle 32"/>
          <p:cNvSpPr/>
          <p:nvPr userDrawn="1"/>
        </p:nvSpPr>
        <p:spPr>
          <a:xfrm>
            <a:off x="4902138" y="4235826"/>
            <a:ext cx="154305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34" name="Picture 2" descr="D:\My Work\Template\Icons\Social Media\LinkedIN.png">
            <a:hlinkClick r:id="rId8"/>
          </p:cNvPr>
          <p:cNvPicPr>
            <a:picLocks noChangeAspect="1" noChangeArrowheads="1"/>
          </p:cNvPicPr>
          <p:nvPr userDrawn="1"/>
        </p:nvPicPr>
        <p:blipFill>
          <a:blip r:embed="rId9" cstate="print"/>
          <a:srcRect/>
          <a:stretch>
            <a:fillRect/>
          </a:stretch>
        </p:blipFill>
        <p:spPr bwMode="auto">
          <a:xfrm>
            <a:off x="607573" y="3979258"/>
            <a:ext cx="249896" cy="333195"/>
          </a:xfrm>
          <a:prstGeom prst="rect">
            <a:avLst/>
          </a:prstGeom>
          <a:noFill/>
        </p:spPr>
      </p:pic>
      <p:pic>
        <p:nvPicPr>
          <p:cNvPr id="35" name="Picture 4" descr="D:\My Work\Template\Icons\Social Media\SlideShare.png">
            <a:hlinkClick r:id="rId10"/>
          </p:cNvPr>
          <p:cNvPicPr>
            <a:picLocks noChangeAspect="1" noChangeArrowheads="1"/>
          </p:cNvPicPr>
          <p:nvPr userDrawn="1"/>
        </p:nvPicPr>
        <p:blipFill>
          <a:blip r:embed="rId11" cstate="print"/>
          <a:srcRect/>
          <a:stretch>
            <a:fillRect/>
          </a:stretch>
        </p:blipFill>
        <p:spPr bwMode="auto">
          <a:xfrm>
            <a:off x="895106" y="3979258"/>
            <a:ext cx="249896" cy="333195"/>
          </a:xfrm>
          <a:prstGeom prst="rect">
            <a:avLst/>
          </a:prstGeom>
          <a:noFill/>
        </p:spPr>
      </p:pic>
      <p:pic>
        <p:nvPicPr>
          <p:cNvPr id="36" name="Picture 5" descr="D:\My Work\Template\Icons\Social Media\Twitter.png">
            <a:hlinkClick r:id="rId12"/>
          </p:cNvPr>
          <p:cNvPicPr>
            <a:picLocks noChangeAspect="1" noChangeArrowheads="1"/>
          </p:cNvPicPr>
          <p:nvPr userDrawn="1"/>
        </p:nvPicPr>
        <p:blipFill>
          <a:blip r:embed="rId13" cstate="print"/>
          <a:srcRect/>
          <a:stretch>
            <a:fillRect/>
          </a:stretch>
        </p:blipFill>
        <p:spPr bwMode="auto">
          <a:xfrm>
            <a:off x="1182639" y="3979258"/>
            <a:ext cx="249896" cy="333195"/>
          </a:xfrm>
          <a:prstGeom prst="rect">
            <a:avLst/>
          </a:prstGeom>
          <a:noFill/>
        </p:spPr>
      </p:pic>
      <p:pic>
        <p:nvPicPr>
          <p:cNvPr id="37" name="Picture 6" descr="D:\My Work\Template\Icons\Social Media\YouTube.png">
            <a:hlinkClick r:id="rId14"/>
          </p:cNvPr>
          <p:cNvPicPr>
            <a:picLocks noChangeAspect="1" noChangeArrowheads="1"/>
          </p:cNvPicPr>
          <p:nvPr userDrawn="1"/>
        </p:nvPicPr>
        <p:blipFill>
          <a:blip r:embed="rId15" cstate="print"/>
          <a:srcRect/>
          <a:stretch>
            <a:fillRect/>
          </a:stretch>
        </p:blipFill>
        <p:spPr bwMode="auto">
          <a:xfrm>
            <a:off x="1470171" y="3979258"/>
            <a:ext cx="249896" cy="333195"/>
          </a:xfrm>
          <a:prstGeom prst="rect">
            <a:avLst/>
          </a:prstGeom>
          <a:noFill/>
        </p:spPr>
      </p:pic>
      <p:pic>
        <p:nvPicPr>
          <p:cNvPr id="38" name="Picture 7" descr="D:\My Work\Template\Icons\Social Media\Facebook.png">
            <a:hlinkClick r:id="rId16"/>
          </p:cNvPr>
          <p:cNvPicPr>
            <a:picLocks noChangeAspect="1" noChangeArrowheads="1"/>
          </p:cNvPicPr>
          <p:nvPr userDrawn="1"/>
        </p:nvPicPr>
        <p:blipFill>
          <a:blip r:embed="rId17" cstate="print"/>
          <a:srcRect/>
          <a:stretch>
            <a:fillRect/>
          </a:stretch>
        </p:blipFill>
        <p:spPr bwMode="auto">
          <a:xfrm>
            <a:off x="320041" y="3979258"/>
            <a:ext cx="249896" cy="333195"/>
          </a:xfrm>
          <a:prstGeom prst="rect">
            <a:avLst/>
          </a:prstGeom>
          <a:noFill/>
        </p:spPr>
      </p:pic>
      <p:sp>
        <p:nvSpPr>
          <p:cNvPr id="39" name="Rectangle 38"/>
          <p:cNvSpPr/>
          <p:nvPr userDrawn="1"/>
        </p:nvSpPr>
        <p:spPr>
          <a:xfrm>
            <a:off x="320040" y="5869182"/>
            <a:ext cx="3148965" cy="341119"/>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message contains information that may be privileged or confidential and is the property of the Capgemini Group.</a:t>
            </a:r>
          </a:p>
          <a:p>
            <a:pPr>
              <a:spcAft>
                <a:spcPts val="450"/>
              </a:spcAft>
            </a:pPr>
            <a:r>
              <a:rPr lang="en-US" sz="600" noProof="0" dirty="0">
                <a:solidFill>
                  <a:schemeClr val="bg1"/>
                </a:solidFill>
                <a:latin typeface="Arial"/>
                <a:cs typeface="Arial"/>
              </a:rPr>
              <a:t>Copyright © 2017 Capgemini. All rights reserved.</a:t>
            </a:r>
          </a:p>
        </p:txBody>
      </p:sp>
      <p:sp>
        <p:nvSpPr>
          <p:cNvPr id="40" name="ZoneTexte 23"/>
          <p:cNvSpPr txBox="1"/>
          <p:nvPr userDrawn="1"/>
        </p:nvSpPr>
        <p:spPr>
          <a:xfrm>
            <a:off x="314441" y="4381708"/>
            <a:ext cx="1889941" cy="230832"/>
          </a:xfrm>
          <a:prstGeom prst="rect">
            <a:avLst/>
          </a:prstGeom>
          <a:noFill/>
        </p:spPr>
        <p:txBody>
          <a:bodyPr wrap="none" lIns="0" rIns="0" rtlCol="0">
            <a:spAutoFit/>
          </a:bodyPr>
          <a:lstStyle/>
          <a:p>
            <a:r>
              <a:rPr lang="en-US" sz="900" b="1" dirty="0">
                <a:solidFill>
                  <a:schemeClr val="accent2"/>
                </a:solidFill>
              </a:rPr>
              <a:t>People matter, results count.</a:t>
            </a:r>
          </a:p>
        </p:txBody>
      </p:sp>
    </p:spTree>
    <p:extLst>
      <p:ext uri="{BB962C8B-B14F-4D97-AF65-F5344CB8AC3E}">
        <p14:creationId xmlns:p14="http://schemas.microsoft.com/office/powerpoint/2010/main" val="314543911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userDrawn="1">
            <p:custDataLst>
              <p:tags r:id="rId2"/>
            </p:custDataLst>
            <p:extLst>
              <p:ext uri="{D42A27DB-BD31-4B8C-83A1-F6EECF244321}">
                <p14:modId xmlns:p14="http://schemas.microsoft.com/office/powerpoint/2010/main" val="2123768020"/>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434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22" name="Freeform 9"/>
          <p:cNvSpPr>
            <a:spLocks/>
          </p:cNvSpPr>
          <p:nvPr userDrawn="1"/>
        </p:nvSpPr>
        <p:spPr bwMode="auto">
          <a:xfrm>
            <a:off x="7403306" y="0"/>
            <a:ext cx="1740694" cy="3840163"/>
          </a:xfrm>
          <a:custGeom>
            <a:avLst/>
            <a:gdLst>
              <a:gd name="T0" fmla="*/ 616 w 616"/>
              <a:gd name="T1" fmla="*/ 1021 h 1021"/>
              <a:gd name="T2" fmla="*/ 514 w 616"/>
              <a:gd name="T3" fmla="*/ 895 h 1021"/>
              <a:gd name="T4" fmla="*/ 331 w 616"/>
              <a:gd name="T5" fmla="*/ 659 h 1021"/>
              <a:gd name="T6" fmla="*/ 127 w 616"/>
              <a:gd name="T7" fmla="*/ 326 h 1021"/>
              <a:gd name="T8" fmla="*/ 0 w 616"/>
              <a:gd name="T9" fmla="*/ 0 h 1021"/>
              <a:gd name="T10" fmla="*/ 609 w 616"/>
              <a:gd name="T11" fmla="*/ 0 h 1021"/>
              <a:gd name="T12" fmla="*/ 616 w 616"/>
              <a:gd name="T13" fmla="*/ 8 h 1021"/>
              <a:gd name="T14" fmla="*/ 616 w 616"/>
              <a:gd name="T15" fmla="*/ 1021 h 10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6" h="1021">
                <a:moveTo>
                  <a:pt x="616" y="1021"/>
                </a:moveTo>
                <a:cubicBezTo>
                  <a:pt x="582" y="979"/>
                  <a:pt x="549" y="937"/>
                  <a:pt x="514" y="895"/>
                </a:cubicBezTo>
                <a:cubicBezTo>
                  <a:pt x="451" y="819"/>
                  <a:pt x="389" y="740"/>
                  <a:pt x="331" y="659"/>
                </a:cubicBezTo>
                <a:cubicBezTo>
                  <a:pt x="256" y="553"/>
                  <a:pt x="186" y="443"/>
                  <a:pt x="127" y="326"/>
                </a:cubicBezTo>
                <a:cubicBezTo>
                  <a:pt x="74" y="222"/>
                  <a:pt x="30" y="114"/>
                  <a:pt x="0" y="0"/>
                </a:cubicBezTo>
                <a:cubicBezTo>
                  <a:pt x="203" y="0"/>
                  <a:pt x="406" y="0"/>
                  <a:pt x="609" y="0"/>
                </a:cubicBezTo>
                <a:cubicBezTo>
                  <a:pt x="615" y="0"/>
                  <a:pt x="616" y="1"/>
                  <a:pt x="616" y="8"/>
                </a:cubicBezTo>
                <a:cubicBezTo>
                  <a:pt x="616" y="346"/>
                  <a:pt x="616" y="684"/>
                  <a:pt x="616" y="1021"/>
                </a:cubicBez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de-DE" sz="1350"/>
          </a:p>
        </p:txBody>
      </p:sp>
      <p:sp>
        <p:nvSpPr>
          <p:cNvPr id="15" name="Freeform 5"/>
          <p:cNvSpPr>
            <a:spLocks/>
          </p:cNvSpPr>
          <p:nvPr userDrawn="1"/>
        </p:nvSpPr>
        <p:spPr bwMode="auto">
          <a:xfrm>
            <a:off x="3202782" y="2336800"/>
            <a:ext cx="5941219" cy="4521200"/>
          </a:xfrm>
          <a:custGeom>
            <a:avLst/>
            <a:gdLst>
              <a:gd name="T0" fmla="*/ 0 w 2110"/>
              <a:gd name="T1" fmla="*/ 304 h 1203"/>
              <a:gd name="T2" fmla="*/ 38 w 2110"/>
              <a:gd name="T3" fmla="*/ 248 h 1203"/>
              <a:gd name="T4" fmla="*/ 212 w 2110"/>
              <a:gd name="T5" fmla="*/ 75 h 1203"/>
              <a:gd name="T6" fmla="*/ 407 w 2110"/>
              <a:gd name="T7" fmla="*/ 8 h 1203"/>
              <a:gd name="T8" fmla="*/ 670 w 2110"/>
              <a:gd name="T9" fmla="*/ 39 h 1203"/>
              <a:gd name="T10" fmla="*/ 881 w 2110"/>
              <a:gd name="T11" fmla="*/ 121 h 1203"/>
              <a:gd name="T12" fmla="*/ 1243 w 2110"/>
              <a:gd name="T13" fmla="*/ 325 h 1203"/>
              <a:gd name="T14" fmla="*/ 1469 w 2110"/>
              <a:gd name="T15" fmla="*/ 455 h 1203"/>
              <a:gd name="T16" fmla="*/ 1857 w 2110"/>
              <a:gd name="T17" fmla="*/ 624 h 1203"/>
              <a:gd name="T18" fmla="*/ 2090 w 2110"/>
              <a:gd name="T19" fmla="*/ 684 h 1203"/>
              <a:gd name="T20" fmla="*/ 2110 w 2110"/>
              <a:gd name="T21" fmla="*/ 687 h 1203"/>
              <a:gd name="T22" fmla="*/ 2110 w 2110"/>
              <a:gd name="T23" fmla="*/ 1201 h 1203"/>
              <a:gd name="T24" fmla="*/ 2102 w 2110"/>
              <a:gd name="T25" fmla="*/ 1201 h 1203"/>
              <a:gd name="T26" fmla="*/ 150 w 2110"/>
              <a:gd name="T27" fmla="*/ 1201 h 1203"/>
              <a:gd name="T28" fmla="*/ 141 w 2110"/>
              <a:gd name="T29" fmla="*/ 1200 h 1203"/>
              <a:gd name="T30" fmla="*/ 145 w 2110"/>
              <a:gd name="T31" fmla="*/ 1195 h 1203"/>
              <a:gd name="T32" fmla="*/ 213 w 2110"/>
              <a:gd name="T33" fmla="*/ 1099 h 1203"/>
              <a:gd name="T34" fmla="*/ 229 w 2110"/>
              <a:gd name="T35" fmla="*/ 923 h 1203"/>
              <a:gd name="T36" fmla="*/ 183 w 2110"/>
              <a:gd name="T37" fmla="*/ 716 h 1203"/>
              <a:gd name="T38" fmla="*/ 79 w 2110"/>
              <a:gd name="T39" fmla="*/ 463 h 1203"/>
              <a:gd name="T40" fmla="*/ 0 w 2110"/>
              <a:gd name="T41" fmla="*/ 310 h 1203"/>
              <a:gd name="T42" fmla="*/ 0 w 2110"/>
              <a:gd name="T43" fmla="*/ 304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10" h="1203">
                <a:moveTo>
                  <a:pt x="0" y="304"/>
                </a:moveTo>
                <a:cubicBezTo>
                  <a:pt x="13" y="286"/>
                  <a:pt x="25" y="267"/>
                  <a:pt x="38" y="248"/>
                </a:cubicBezTo>
                <a:cubicBezTo>
                  <a:pt x="86" y="180"/>
                  <a:pt x="141" y="120"/>
                  <a:pt x="212" y="75"/>
                </a:cubicBezTo>
                <a:cubicBezTo>
                  <a:pt x="272" y="38"/>
                  <a:pt x="337" y="15"/>
                  <a:pt x="407" y="8"/>
                </a:cubicBezTo>
                <a:cubicBezTo>
                  <a:pt x="497" y="0"/>
                  <a:pt x="584" y="14"/>
                  <a:pt x="670" y="39"/>
                </a:cubicBezTo>
                <a:cubicBezTo>
                  <a:pt x="743" y="60"/>
                  <a:pt x="813" y="89"/>
                  <a:pt x="881" y="121"/>
                </a:cubicBezTo>
                <a:cubicBezTo>
                  <a:pt x="1007" y="180"/>
                  <a:pt x="1126" y="251"/>
                  <a:pt x="1243" y="325"/>
                </a:cubicBezTo>
                <a:cubicBezTo>
                  <a:pt x="1317" y="372"/>
                  <a:pt x="1392" y="415"/>
                  <a:pt x="1469" y="455"/>
                </a:cubicBezTo>
                <a:cubicBezTo>
                  <a:pt x="1595" y="521"/>
                  <a:pt x="1723" y="578"/>
                  <a:pt x="1857" y="624"/>
                </a:cubicBezTo>
                <a:cubicBezTo>
                  <a:pt x="1933" y="650"/>
                  <a:pt x="2011" y="671"/>
                  <a:pt x="2090" y="684"/>
                </a:cubicBezTo>
                <a:cubicBezTo>
                  <a:pt x="2097" y="685"/>
                  <a:pt x="2104" y="686"/>
                  <a:pt x="2110" y="687"/>
                </a:cubicBezTo>
                <a:cubicBezTo>
                  <a:pt x="2110" y="858"/>
                  <a:pt x="2110" y="1030"/>
                  <a:pt x="2110" y="1201"/>
                </a:cubicBezTo>
                <a:cubicBezTo>
                  <a:pt x="2107" y="1201"/>
                  <a:pt x="2104" y="1201"/>
                  <a:pt x="2102" y="1201"/>
                </a:cubicBezTo>
                <a:cubicBezTo>
                  <a:pt x="1451" y="1201"/>
                  <a:pt x="801" y="1201"/>
                  <a:pt x="150" y="1201"/>
                </a:cubicBezTo>
                <a:cubicBezTo>
                  <a:pt x="147" y="1201"/>
                  <a:pt x="143" y="1203"/>
                  <a:pt x="141" y="1200"/>
                </a:cubicBezTo>
                <a:cubicBezTo>
                  <a:pt x="141" y="1197"/>
                  <a:pt x="143" y="1196"/>
                  <a:pt x="145" y="1195"/>
                </a:cubicBezTo>
                <a:cubicBezTo>
                  <a:pt x="178" y="1170"/>
                  <a:pt x="199" y="1137"/>
                  <a:pt x="213" y="1099"/>
                </a:cubicBezTo>
                <a:cubicBezTo>
                  <a:pt x="234" y="1042"/>
                  <a:pt x="235" y="983"/>
                  <a:pt x="229" y="923"/>
                </a:cubicBezTo>
                <a:cubicBezTo>
                  <a:pt x="222" y="852"/>
                  <a:pt x="205" y="783"/>
                  <a:pt x="183" y="716"/>
                </a:cubicBezTo>
                <a:cubicBezTo>
                  <a:pt x="154" y="629"/>
                  <a:pt x="118" y="545"/>
                  <a:pt x="79" y="463"/>
                </a:cubicBezTo>
                <a:cubicBezTo>
                  <a:pt x="54" y="411"/>
                  <a:pt x="28" y="360"/>
                  <a:pt x="0" y="310"/>
                </a:cubicBezTo>
                <a:cubicBezTo>
                  <a:pt x="0" y="308"/>
                  <a:pt x="0" y="306"/>
                  <a:pt x="0" y="304"/>
                </a:cubicBez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de-DE" sz="1350"/>
          </a:p>
        </p:txBody>
      </p:sp>
      <p:sp>
        <p:nvSpPr>
          <p:cNvPr id="5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1385646" y="2708920"/>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1385646" y="3645024"/>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4914900" y="2060576"/>
            <a:ext cx="3682604"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a16="http://schemas.microsoft.com/office/drawing/2014/main" id="{92D6AE9D-467E-46C0-B32B-79A9B07CDD13}"/>
              </a:ext>
            </a:extLst>
          </p:cNvPr>
          <p:cNvSpPr>
            <a:spLocks noGrp="1"/>
          </p:cNvSpPr>
          <p:nvPr>
            <p:ph type="body" sz="quarter" idx="34" hasCustomPrompt="1"/>
          </p:nvPr>
        </p:nvSpPr>
        <p:spPr>
          <a:xfrm>
            <a:off x="1385646" y="4630276"/>
            <a:ext cx="2484276" cy="720080"/>
          </a:xfrm>
          <a:prstGeom prst="rect">
            <a:avLst/>
          </a:prstGeom>
        </p:spPr>
        <p:txBody>
          <a:bodyPr anchor="ctr">
            <a:noAutofit/>
          </a:bodyPr>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12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739835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pic>
        <p:nvPicPr>
          <p:cNvPr id="9" name="Graphic 4">
            <a:extLst>
              <a:ext uri="{FF2B5EF4-FFF2-40B4-BE49-F238E27FC236}">
                <a16:creationId xmlns:a16="http://schemas.microsoft.com/office/drawing/2014/main" id="{D67A1EFD-D78D-4138-B2FE-E0A098B59C34}"/>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8618564" y="164829"/>
            <a:ext cx="318267" cy="459624"/>
          </a:xfrm>
          <a:prstGeom prst="rect">
            <a:avLst/>
          </a:prstGeom>
        </p:spPr>
      </p:pic>
      <p:cxnSp>
        <p:nvCxnSpPr>
          <p:cNvPr id="1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867657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6" name="Footer Placeholder 5"/>
          <p:cNvSpPr>
            <a:spLocks noGrp="1"/>
          </p:cNvSpPr>
          <p:nvPr>
            <p:ph type="ftr" sz="quarter" idx="36"/>
          </p:nvPr>
        </p:nvSpPr>
        <p:spPr/>
        <p:txBody>
          <a:bodyPr/>
          <a:lstStyle>
            <a:lvl1pPr>
              <a:defRPr>
                <a:solidFill>
                  <a:schemeClr val="bg1"/>
                </a:solidFill>
              </a:defRPr>
            </a:lvl1pPr>
          </a:lstStyle>
          <a:p>
            <a:r>
              <a:rPr lang="en-US"/>
              <a:t>Virtualiation (2).pptx</a:t>
            </a:r>
            <a:endParaRPr lang="en-US" dirty="0"/>
          </a:p>
        </p:txBody>
      </p:sp>
      <p:sp>
        <p:nvSpPr>
          <p:cNvPr id="8" name="Slide Number Placeholder 7"/>
          <p:cNvSpPr>
            <a:spLocks noGrp="1"/>
          </p:cNvSpPr>
          <p:nvPr>
            <p:ph type="sldNum" sz="quarter" idx="37"/>
          </p:nvPr>
        </p:nvSpPr>
        <p:spPr/>
        <p:txBody>
          <a:bodyPr/>
          <a:lstStyle>
            <a:lvl1pPr>
              <a:defRPr>
                <a:solidFill>
                  <a:schemeClr val="bg1"/>
                </a:solidFill>
              </a:defRPr>
            </a:lvl1p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37"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cxnSp>
        <p:nvCxnSpPr>
          <p:cNvPr id="1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867657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a:t>Click to edit Master title style</a:t>
            </a:r>
            <a:endParaRPr lang="de-DE"/>
          </a:p>
        </p:txBody>
      </p:sp>
      <p:sp>
        <p:nvSpPr>
          <p:cNvPr id="7" name="Footer Placeholder 6"/>
          <p:cNvSpPr>
            <a:spLocks noGrp="1"/>
          </p:cNvSpPr>
          <p:nvPr>
            <p:ph type="ftr" sz="quarter" idx="17"/>
          </p:nvPr>
        </p:nvSpPr>
        <p:spPr/>
        <p:txBody>
          <a:bodyPr/>
          <a:lstStyle>
            <a:lvl1pPr>
              <a:defRPr>
                <a:solidFill>
                  <a:schemeClr val="bg1"/>
                </a:solidFill>
              </a:defRPr>
            </a:lvl1pPr>
          </a:lstStyle>
          <a:p>
            <a:r>
              <a:rPr lang="en-US"/>
              <a:t>Virtualiation (2).pptx</a:t>
            </a:r>
            <a:endParaRPr lang="en-US" dirty="0"/>
          </a:p>
        </p:txBody>
      </p:sp>
      <p:sp>
        <p:nvSpPr>
          <p:cNvPr id="8" name="Slide Number Placeholder 7"/>
          <p:cNvSpPr>
            <a:spLocks noGrp="1"/>
          </p:cNvSpPr>
          <p:nvPr>
            <p:ph type="sldNum" sz="quarter" idx="18"/>
          </p:nvPr>
        </p:nvSpPr>
        <p:spPr/>
        <p:txBody>
          <a:bodyPr/>
          <a:lstStyle>
            <a:lvl1pPr>
              <a:defRPr>
                <a:solidFill>
                  <a:schemeClr val="bg1"/>
                </a:solidFill>
              </a:defRPr>
            </a:lvl1p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223746742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2" y="2204865"/>
            <a:ext cx="2714144" cy="2924629"/>
          </a:xfrm>
          <a:prstGeom prst="rect">
            <a:avLst/>
          </a:prstGeom>
        </p:spPr>
        <p:txBody>
          <a:bodyPr lIns="0" tIns="0" rIns="0" bIns="0" anchor="b">
            <a:normAutofit/>
          </a:bodyPr>
          <a:lstStyle>
            <a:lvl1pPr>
              <a:lnSpc>
                <a:spcPct val="100000"/>
              </a:lnSpc>
              <a:defRPr sz="2100">
                <a:solidFill>
                  <a:srgbClr val="2C004B"/>
                </a:solidFill>
              </a:defRPr>
            </a:lvl1pPr>
            <a:lvl2pPr marL="342900" indent="0">
              <a:lnSpc>
                <a:spcPts val="4650"/>
              </a:lnSpc>
              <a:buNone/>
              <a:defRPr sz="405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2" y="5273460"/>
            <a:ext cx="2714144" cy="675820"/>
          </a:xfrm>
          <a:prstGeom prst="rect">
            <a:avLst/>
          </a:prstGeom>
        </p:spPr>
        <p:txBody>
          <a:bodyPr lIns="0" tIns="0" rIns="0" bIns="0">
            <a:normAutofit/>
          </a:bodyPr>
          <a:lstStyle>
            <a:lvl1pPr>
              <a:lnSpc>
                <a:spcPct val="100000"/>
              </a:lnSpc>
              <a:defRPr sz="1200">
                <a:solidFill>
                  <a:srgbClr val="2C004B"/>
                </a:solidFill>
              </a:defRPr>
            </a:lvl1pPr>
            <a:lvl2pPr marL="342900" indent="0">
              <a:buNone/>
              <a:defRPr sz="135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id="{A76958A6-8FB1-445D-BB17-D619DC39E089}"/>
              </a:ext>
            </a:extLst>
          </p:cNvPr>
          <p:cNvGrpSpPr/>
          <p:nvPr userDrawn="1"/>
        </p:nvGrpSpPr>
        <p:grpSpPr>
          <a:xfrm>
            <a:off x="2596389" y="0"/>
            <a:ext cx="6547611" cy="6858000"/>
            <a:chOff x="3461852" y="0"/>
            <a:chExt cx="8730148" cy="6858000"/>
          </a:xfrm>
        </p:grpSpPr>
        <p:sp>
          <p:nvSpPr>
            <p:cNvPr id="12"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3"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4"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
        <p:nvSpPr>
          <p:cNvPr id="3" name="Footer Placeholder 2"/>
          <p:cNvSpPr>
            <a:spLocks noGrp="1"/>
          </p:cNvSpPr>
          <p:nvPr>
            <p:ph type="ftr" sz="quarter" idx="14"/>
          </p:nvPr>
        </p:nvSpPr>
        <p:spPr/>
        <p:txBody>
          <a:bodyPr/>
          <a:lstStyle>
            <a:lvl1pPr>
              <a:defRPr>
                <a:solidFill>
                  <a:schemeClr val="bg1"/>
                </a:solidFill>
              </a:defRPr>
            </a:lvl1pPr>
          </a:lstStyle>
          <a:p>
            <a:r>
              <a:rPr lang="en-US"/>
              <a:t>Virtualiation (2).pptx</a:t>
            </a:r>
            <a:endParaRPr lang="en-US" dirty="0"/>
          </a:p>
        </p:txBody>
      </p:sp>
      <p:sp>
        <p:nvSpPr>
          <p:cNvPr id="4" name="Slide Number Placeholder 3"/>
          <p:cNvSpPr>
            <a:spLocks noGrp="1"/>
          </p:cNvSpPr>
          <p:nvPr>
            <p:ph type="sldNum" sz="quarter" idx="15"/>
          </p:nvPr>
        </p:nvSpPr>
        <p:spPr/>
        <p:txBody>
          <a:bodyPr/>
          <a:lstStyle>
            <a:lvl1pPr>
              <a:defRPr>
                <a:solidFill>
                  <a:schemeClr val="bg1"/>
                </a:solidFill>
              </a:defRPr>
            </a:lvl1p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16643351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305991" y="3068960"/>
            <a:ext cx="3023871"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id="{57798370-07F4-412F-86CE-30C026EA6825}"/>
              </a:ext>
            </a:extLst>
          </p:cNvPr>
          <p:cNvSpPr>
            <a:spLocks noGrp="1"/>
          </p:cNvSpPr>
          <p:nvPr>
            <p:ph type="title" hasCustomPrompt="1"/>
          </p:nvPr>
        </p:nvSpPr>
        <p:spPr>
          <a:xfrm>
            <a:off x="305992" y="2002973"/>
            <a:ext cx="3023871"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867657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2"/>
          </p:nvPr>
        </p:nvSpPr>
        <p:spPr/>
        <p:txBody>
          <a:bodyPr/>
          <a:lstStyle>
            <a:lvl1pPr>
              <a:defRPr>
                <a:solidFill>
                  <a:schemeClr val="bg1"/>
                </a:solidFill>
              </a:defRPr>
            </a:lvl1pPr>
          </a:lstStyle>
          <a:p>
            <a:r>
              <a:rPr lang="en-US"/>
              <a:t>Virtualiation (2).pptx</a:t>
            </a:r>
            <a:endParaRPr lang="en-US" dirty="0"/>
          </a:p>
        </p:txBody>
      </p:sp>
      <p:sp>
        <p:nvSpPr>
          <p:cNvPr id="9" name="Slide Number Placeholder 8"/>
          <p:cNvSpPr>
            <a:spLocks noGrp="1"/>
          </p:cNvSpPr>
          <p:nvPr>
            <p:ph type="sldNum" sz="quarter" idx="13"/>
          </p:nvPr>
        </p:nvSpPr>
        <p:spPr/>
        <p:txBody>
          <a:bodyPr/>
          <a:lstStyle>
            <a:lvl1pPr>
              <a:defRPr>
                <a:solidFill>
                  <a:schemeClr val="bg1"/>
                </a:solidFill>
              </a:defRPr>
            </a:lvl1pPr>
          </a:lstStyle>
          <a:p>
            <a:fld id="{DD205EFF-948D-4AF6-B54C-65639188FB5F}" type="slidenum">
              <a:rPr lang="en-US" smtClean="0"/>
              <a:pPr/>
              <a:t>‹#›</a:t>
            </a:fld>
            <a:endParaRPr lang="en-US" dirty="0"/>
          </a:p>
        </p:txBody>
      </p:sp>
      <p:sp>
        <p:nvSpPr>
          <p:cNvPr id="5" name="Picture Placeholder 4"/>
          <p:cNvSpPr>
            <a:spLocks noGrp="1"/>
          </p:cNvSpPr>
          <p:nvPr>
            <p:ph type="pic" sz="quarter" idx="14"/>
          </p:nvPr>
        </p:nvSpPr>
        <p:spPr>
          <a:xfrm>
            <a:off x="3330178" y="0"/>
            <a:ext cx="5813822" cy="6858000"/>
          </a:xfrm>
          <a:solidFill>
            <a:schemeClr val="bg2"/>
          </a:solidFill>
        </p:spPr>
        <p:txBody>
          <a:bodyPr anchor="ctr"/>
          <a:lstStyle>
            <a:lvl1pPr algn="ctr">
              <a:defRPr/>
            </a:lvl1pPr>
          </a:lstStyle>
          <a:p>
            <a:r>
              <a:rPr lang="en-US"/>
              <a:t>Click icon to add picture</a:t>
            </a:r>
            <a:endParaRPr lang="en-GB"/>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p15="http://schemas.microsoft.com/office/powerpoint/2012/main">
        <p15:guide id="1" orient="horz" pos="255" userDrawn="1">
          <p15:clr>
            <a:srgbClr val="FBAE40"/>
          </p15:clr>
        </p15:guide>
        <p15:guide id="2" pos="193" userDrawn="1">
          <p15:clr>
            <a:srgbClr val="FBAE40"/>
          </p15:clr>
        </p15:guide>
        <p15:guide id="3" pos="5159"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ection Opener1">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59847110"/>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354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6" name="Freeform 5"/>
          <p:cNvSpPr>
            <a:spLocks/>
          </p:cNvSpPr>
          <p:nvPr userDrawn="1"/>
        </p:nvSpPr>
        <p:spPr bwMode="auto">
          <a:xfrm flipH="1">
            <a:off x="791475" y="0"/>
            <a:ext cx="8352525" cy="6858000"/>
          </a:xfrm>
          <a:custGeom>
            <a:avLst/>
            <a:gdLst>
              <a:gd name="T0" fmla="*/ 810 w 2953"/>
              <a:gd name="T1" fmla="*/ 2160 h 2160"/>
              <a:gd name="T2" fmla="*/ 0 w 2953"/>
              <a:gd name="T3" fmla="*/ 2160 h 2160"/>
              <a:gd name="T4" fmla="*/ 0 w 2953"/>
              <a:gd name="T5" fmla="*/ 0 h 2160"/>
              <a:gd name="T6" fmla="*/ 2953 w 2953"/>
              <a:gd name="T7" fmla="*/ 0 h 2160"/>
              <a:gd name="T8" fmla="*/ 2951 w 2953"/>
              <a:gd name="T9" fmla="*/ 9 h 2160"/>
              <a:gd name="T10" fmla="*/ 2912 w 2953"/>
              <a:gd name="T11" fmla="*/ 104 h 2160"/>
              <a:gd name="T12" fmla="*/ 2689 w 2953"/>
              <a:gd name="T13" fmla="*/ 359 h 2160"/>
              <a:gd name="T14" fmla="*/ 2421 w 2953"/>
              <a:gd name="T15" fmla="*/ 509 h 2160"/>
              <a:gd name="T16" fmla="*/ 1974 w 2953"/>
              <a:gd name="T17" fmla="*/ 701 h 2160"/>
              <a:gd name="T18" fmla="*/ 1632 w 2953"/>
              <a:gd name="T19" fmla="*/ 876 h 2160"/>
              <a:gd name="T20" fmla="*/ 1411 w 2953"/>
              <a:gd name="T21" fmla="*/ 1047 h 2160"/>
              <a:gd name="T22" fmla="*/ 1306 w 2953"/>
              <a:gd name="T23" fmla="*/ 1219 h 2160"/>
              <a:gd name="T24" fmla="*/ 1303 w 2953"/>
              <a:gd name="T25" fmla="*/ 1459 h 2160"/>
              <a:gd name="T26" fmla="*/ 1396 w 2953"/>
              <a:gd name="T27" fmla="*/ 1682 h 2160"/>
              <a:gd name="T28" fmla="*/ 1403 w 2953"/>
              <a:gd name="T29" fmla="*/ 1695 h 2160"/>
              <a:gd name="T30" fmla="*/ 1398 w 2953"/>
              <a:gd name="T31" fmla="*/ 1700 h 2160"/>
              <a:gd name="T32" fmla="*/ 882 w 2953"/>
              <a:gd name="T33" fmla="*/ 2110 h 2160"/>
              <a:gd name="T34" fmla="*/ 810 w 2953"/>
              <a:gd name="T35" fmla="*/ 2160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53" h="2160">
                <a:moveTo>
                  <a:pt x="810" y="2160"/>
                </a:moveTo>
                <a:cubicBezTo>
                  <a:pt x="540" y="2160"/>
                  <a:pt x="270" y="2160"/>
                  <a:pt x="0" y="2160"/>
                </a:cubicBezTo>
                <a:cubicBezTo>
                  <a:pt x="0" y="1440"/>
                  <a:pt x="0" y="720"/>
                  <a:pt x="0" y="0"/>
                </a:cubicBezTo>
                <a:cubicBezTo>
                  <a:pt x="984" y="0"/>
                  <a:pt x="1969" y="0"/>
                  <a:pt x="2953" y="0"/>
                </a:cubicBezTo>
                <a:cubicBezTo>
                  <a:pt x="2952" y="3"/>
                  <a:pt x="2952" y="6"/>
                  <a:pt x="2951" y="9"/>
                </a:cubicBezTo>
                <a:cubicBezTo>
                  <a:pt x="2938" y="41"/>
                  <a:pt x="2927" y="73"/>
                  <a:pt x="2912" y="104"/>
                </a:cubicBezTo>
                <a:cubicBezTo>
                  <a:pt x="2859" y="208"/>
                  <a:pt x="2782" y="290"/>
                  <a:pt x="2689" y="359"/>
                </a:cubicBezTo>
                <a:cubicBezTo>
                  <a:pt x="2607" y="421"/>
                  <a:pt x="2516" y="468"/>
                  <a:pt x="2421" y="509"/>
                </a:cubicBezTo>
                <a:cubicBezTo>
                  <a:pt x="2272" y="572"/>
                  <a:pt x="2123" y="636"/>
                  <a:pt x="1974" y="701"/>
                </a:cubicBezTo>
                <a:cubicBezTo>
                  <a:pt x="1857" y="753"/>
                  <a:pt x="1742" y="809"/>
                  <a:pt x="1632" y="876"/>
                </a:cubicBezTo>
                <a:cubicBezTo>
                  <a:pt x="1551" y="924"/>
                  <a:pt x="1475" y="978"/>
                  <a:pt x="1411" y="1047"/>
                </a:cubicBezTo>
                <a:cubicBezTo>
                  <a:pt x="1364" y="1097"/>
                  <a:pt x="1327" y="1153"/>
                  <a:pt x="1306" y="1219"/>
                </a:cubicBezTo>
                <a:cubicBezTo>
                  <a:pt x="1280" y="1299"/>
                  <a:pt x="1283" y="1379"/>
                  <a:pt x="1303" y="1459"/>
                </a:cubicBezTo>
                <a:cubicBezTo>
                  <a:pt x="1323" y="1538"/>
                  <a:pt x="1357" y="1612"/>
                  <a:pt x="1396" y="1682"/>
                </a:cubicBezTo>
                <a:cubicBezTo>
                  <a:pt x="1399" y="1687"/>
                  <a:pt x="1401" y="1691"/>
                  <a:pt x="1403" y="1695"/>
                </a:cubicBezTo>
                <a:cubicBezTo>
                  <a:pt x="1401" y="1697"/>
                  <a:pt x="1399" y="1698"/>
                  <a:pt x="1398" y="1700"/>
                </a:cubicBezTo>
                <a:cubicBezTo>
                  <a:pt x="1232" y="1845"/>
                  <a:pt x="1061" y="1983"/>
                  <a:pt x="882" y="2110"/>
                </a:cubicBezTo>
                <a:cubicBezTo>
                  <a:pt x="858" y="2127"/>
                  <a:pt x="834" y="2143"/>
                  <a:pt x="810" y="2160"/>
                </a:cubicBez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de-DE" sz="135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ection Opener2">
    <p:bg>
      <p:bgPr>
        <a:solidFill>
          <a:schemeClr val="bg2"/>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556494119"/>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149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8" name="Freeform 5"/>
          <p:cNvSpPr>
            <a:spLocks/>
          </p:cNvSpPr>
          <p:nvPr userDrawn="1"/>
        </p:nvSpPr>
        <p:spPr bwMode="auto">
          <a:xfrm>
            <a:off x="3691745" y="838200"/>
            <a:ext cx="5465456" cy="6019801"/>
          </a:xfrm>
          <a:custGeom>
            <a:avLst/>
            <a:gdLst>
              <a:gd name="T0" fmla="*/ 0 w 2297"/>
              <a:gd name="T1" fmla="*/ 973 h 1897"/>
              <a:gd name="T2" fmla="*/ 0 w 2297"/>
              <a:gd name="T3" fmla="*/ 950 h 1897"/>
              <a:gd name="T4" fmla="*/ 55 w 2297"/>
              <a:gd name="T5" fmla="*/ 928 h 1897"/>
              <a:gd name="T6" fmla="*/ 275 w 2297"/>
              <a:gd name="T7" fmla="*/ 795 h 1897"/>
              <a:gd name="T8" fmla="*/ 597 w 2297"/>
              <a:gd name="T9" fmla="*/ 546 h 1897"/>
              <a:gd name="T10" fmla="*/ 998 w 2297"/>
              <a:gd name="T11" fmla="*/ 250 h 1897"/>
              <a:gd name="T12" fmla="*/ 1311 w 2297"/>
              <a:gd name="T13" fmla="*/ 85 h 1897"/>
              <a:gd name="T14" fmla="*/ 1607 w 2297"/>
              <a:gd name="T15" fmla="*/ 6 h 1897"/>
              <a:gd name="T16" fmla="*/ 1667 w 2297"/>
              <a:gd name="T17" fmla="*/ 0 h 1897"/>
              <a:gd name="T18" fmla="*/ 1772 w 2297"/>
              <a:gd name="T19" fmla="*/ 0 h 1897"/>
              <a:gd name="T20" fmla="*/ 1851 w 2297"/>
              <a:gd name="T21" fmla="*/ 9 h 1897"/>
              <a:gd name="T22" fmla="*/ 2297 w 2297"/>
              <a:gd name="T23" fmla="*/ 211 h 1897"/>
              <a:gd name="T24" fmla="*/ 2297 w 2297"/>
              <a:gd name="T25" fmla="*/ 1394 h 1897"/>
              <a:gd name="T26" fmla="*/ 2105 w 2297"/>
              <a:gd name="T27" fmla="*/ 1520 h 1897"/>
              <a:gd name="T28" fmla="*/ 1803 w 2297"/>
              <a:gd name="T29" fmla="*/ 1632 h 1897"/>
              <a:gd name="T30" fmla="*/ 1424 w 2297"/>
              <a:gd name="T31" fmla="*/ 1719 h 1897"/>
              <a:gd name="T32" fmla="*/ 1119 w 2297"/>
              <a:gd name="T33" fmla="*/ 1799 h 1897"/>
              <a:gd name="T34" fmla="*/ 939 w 2297"/>
              <a:gd name="T35" fmla="*/ 1886 h 1897"/>
              <a:gd name="T36" fmla="*/ 910 w 2297"/>
              <a:gd name="T37" fmla="*/ 1897 h 1897"/>
              <a:gd name="T38" fmla="*/ 228 w 2297"/>
              <a:gd name="T39" fmla="*/ 1897 h 1897"/>
              <a:gd name="T40" fmla="*/ 206 w 2297"/>
              <a:gd name="T41" fmla="*/ 1883 h 1897"/>
              <a:gd name="T42" fmla="*/ 84 w 2297"/>
              <a:gd name="T43" fmla="*/ 1533 h 1897"/>
              <a:gd name="T44" fmla="*/ 3 w 2297"/>
              <a:gd name="T45" fmla="*/ 1016 h 1897"/>
              <a:gd name="T46" fmla="*/ 0 w 2297"/>
              <a:gd name="T47" fmla="*/ 973 h 1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97" h="1897">
                <a:moveTo>
                  <a:pt x="0" y="973"/>
                </a:moveTo>
                <a:cubicBezTo>
                  <a:pt x="0" y="965"/>
                  <a:pt x="0" y="958"/>
                  <a:pt x="0" y="950"/>
                </a:cubicBezTo>
                <a:cubicBezTo>
                  <a:pt x="19" y="945"/>
                  <a:pt x="37" y="936"/>
                  <a:pt x="55" y="928"/>
                </a:cubicBezTo>
                <a:cubicBezTo>
                  <a:pt x="133" y="892"/>
                  <a:pt x="205" y="845"/>
                  <a:pt x="275" y="795"/>
                </a:cubicBezTo>
                <a:cubicBezTo>
                  <a:pt x="386" y="717"/>
                  <a:pt x="490" y="630"/>
                  <a:pt x="597" y="546"/>
                </a:cubicBezTo>
                <a:cubicBezTo>
                  <a:pt x="727" y="443"/>
                  <a:pt x="858" y="341"/>
                  <a:pt x="998" y="250"/>
                </a:cubicBezTo>
                <a:cubicBezTo>
                  <a:pt x="1098" y="187"/>
                  <a:pt x="1201" y="129"/>
                  <a:pt x="1311" y="85"/>
                </a:cubicBezTo>
                <a:cubicBezTo>
                  <a:pt x="1406" y="46"/>
                  <a:pt x="1504" y="18"/>
                  <a:pt x="1607" y="6"/>
                </a:cubicBezTo>
                <a:cubicBezTo>
                  <a:pt x="1627" y="4"/>
                  <a:pt x="1647" y="2"/>
                  <a:pt x="1667" y="0"/>
                </a:cubicBezTo>
                <a:cubicBezTo>
                  <a:pt x="1702" y="0"/>
                  <a:pt x="1737" y="0"/>
                  <a:pt x="1772" y="0"/>
                </a:cubicBezTo>
                <a:cubicBezTo>
                  <a:pt x="1799" y="3"/>
                  <a:pt x="1825" y="5"/>
                  <a:pt x="1851" y="9"/>
                </a:cubicBezTo>
                <a:cubicBezTo>
                  <a:pt x="2018" y="35"/>
                  <a:pt x="2168" y="99"/>
                  <a:pt x="2297" y="211"/>
                </a:cubicBezTo>
                <a:cubicBezTo>
                  <a:pt x="2297" y="605"/>
                  <a:pt x="2297" y="999"/>
                  <a:pt x="2297" y="1394"/>
                </a:cubicBezTo>
                <a:cubicBezTo>
                  <a:pt x="2238" y="1444"/>
                  <a:pt x="2173" y="1485"/>
                  <a:pt x="2105" y="1520"/>
                </a:cubicBezTo>
                <a:cubicBezTo>
                  <a:pt x="2008" y="1569"/>
                  <a:pt x="1907" y="1604"/>
                  <a:pt x="1803" y="1632"/>
                </a:cubicBezTo>
                <a:cubicBezTo>
                  <a:pt x="1678" y="1667"/>
                  <a:pt x="1551" y="1691"/>
                  <a:pt x="1424" y="1719"/>
                </a:cubicBezTo>
                <a:cubicBezTo>
                  <a:pt x="1321" y="1741"/>
                  <a:pt x="1218" y="1764"/>
                  <a:pt x="1119" y="1799"/>
                </a:cubicBezTo>
                <a:cubicBezTo>
                  <a:pt x="1056" y="1821"/>
                  <a:pt x="995" y="1849"/>
                  <a:pt x="939" y="1886"/>
                </a:cubicBezTo>
                <a:cubicBezTo>
                  <a:pt x="930" y="1892"/>
                  <a:pt x="922" y="1897"/>
                  <a:pt x="910" y="1897"/>
                </a:cubicBezTo>
                <a:cubicBezTo>
                  <a:pt x="683" y="1897"/>
                  <a:pt x="455" y="1897"/>
                  <a:pt x="228" y="1897"/>
                </a:cubicBezTo>
                <a:cubicBezTo>
                  <a:pt x="216" y="1897"/>
                  <a:pt x="211" y="1893"/>
                  <a:pt x="206" y="1883"/>
                </a:cubicBezTo>
                <a:cubicBezTo>
                  <a:pt x="155" y="1770"/>
                  <a:pt x="115" y="1653"/>
                  <a:pt x="84" y="1533"/>
                </a:cubicBezTo>
                <a:cubicBezTo>
                  <a:pt x="40" y="1363"/>
                  <a:pt x="15" y="1191"/>
                  <a:pt x="3" y="1016"/>
                </a:cubicBezTo>
                <a:cubicBezTo>
                  <a:pt x="2" y="1002"/>
                  <a:pt x="3" y="987"/>
                  <a:pt x="0" y="973"/>
                </a:cubicBez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de-DE" sz="135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spTree>
    <p:extLst>
      <p:ext uri="{BB962C8B-B14F-4D97-AF65-F5344CB8AC3E}">
        <p14:creationId xmlns:p14="http://schemas.microsoft.com/office/powerpoint/2010/main" val="23929564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3">
    <p:bg>
      <p:bgPr>
        <a:solidFill>
          <a:schemeClr val="bg2"/>
        </a:solidFill>
        <a:effectLst/>
      </p:bgPr>
    </p:bg>
    <p:spTree>
      <p:nvGrpSpPr>
        <p:cNvPr id="1" name=""/>
        <p:cNvGrpSpPr/>
        <p:nvPr/>
      </p:nvGrpSpPr>
      <p:grpSpPr>
        <a:xfrm>
          <a:off x="0" y="0"/>
          <a:ext cx="0" cy="0"/>
          <a:chOff x="0" y="0"/>
          <a:chExt cx="0" cy="0"/>
        </a:xfrm>
      </p:grpSpPr>
      <p:pic>
        <p:nvPicPr>
          <p:cNvPr id="6"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userDrawn="1">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userDrawn="1">
            <p:ph type="body" sz="quarter" idx="12" hasCustomPrompt="1"/>
          </p:nvPr>
        </p:nvSpPr>
        <p:spPr>
          <a:xfrm>
            <a:off x="305991" y="3261834"/>
            <a:ext cx="4049985" cy="1196340"/>
          </a:xfrm>
        </p:spPr>
        <p:txBody>
          <a:bodyPr lIns="0" tIns="0" rIns="0" bIns="0">
            <a:normAutofit/>
          </a:bodyPr>
          <a:lstStyle>
            <a:lvl1pPr>
              <a:lnSpc>
                <a:spcPts val="1350"/>
              </a:lnSpc>
              <a:defRPr lang="pt-PT" sz="1200" kern="1200" dirty="0">
                <a:solidFill>
                  <a:srgbClr val="0070AD"/>
                </a:solidFill>
                <a:latin typeface="+mn-lt"/>
                <a:ea typeface="+mn-ea"/>
                <a:cs typeface="+mn-cs"/>
              </a:defRPr>
            </a:lvl1pPr>
            <a:lvl2pPr>
              <a:defRPr sz="1200">
                <a:solidFill>
                  <a:schemeClr val="bg1"/>
                </a:solidFill>
              </a:defRPr>
            </a:lvl2pPr>
          </a:lstStyle>
          <a:p>
            <a:pPr marL="0" marR="0" lvl="0" indent="0" algn="l" defTabSz="685800" rtl="0" eaLnBrk="1" fontAlgn="auto" latinLnBrk="0" hangingPunct="1">
              <a:lnSpc>
                <a:spcPts val="1350"/>
              </a:lnSpc>
              <a:spcBef>
                <a:spcPts val="450"/>
              </a:spcBef>
              <a:spcAft>
                <a:spcPts val="0"/>
              </a:spcAft>
              <a:buClrTx/>
              <a:buSzTx/>
              <a:buFont typeface="Arial" panose="020B0604020202020204" pitchFamily="34" charset="0"/>
              <a:buNone/>
              <a:tabLst/>
            </a:pPr>
            <a:r>
              <a:rPr lang="en-US" dirty="0"/>
              <a:t>Click to insert presenter, location, and date</a:t>
            </a:r>
            <a:endParaRPr lang="pt-PT" dirty="0"/>
          </a:p>
        </p:txBody>
      </p:sp>
      <p:sp>
        <p:nvSpPr>
          <p:cNvPr id="4" name="Freeform 11"/>
          <p:cNvSpPr>
            <a:spLocks/>
          </p:cNvSpPr>
          <p:nvPr userDrawn="1"/>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41146616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ection Opener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78848755"/>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456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7" name="Freeform 5"/>
          <p:cNvSpPr>
            <a:spLocks/>
          </p:cNvSpPr>
          <p:nvPr userDrawn="1"/>
        </p:nvSpPr>
        <p:spPr bwMode="auto">
          <a:xfrm>
            <a:off x="3691745" y="838200"/>
            <a:ext cx="5465456" cy="6019801"/>
          </a:xfrm>
          <a:custGeom>
            <a:avLst/>
            <a:gdLst>
              <a:gd name="T0" fmla="*/ 0 w 2297"/>
              <a:gd name="T1" fmla="*/ 973 h 1897"/>
              <a:gd name="T2" fmla="*/ 0 w 2297"/>
              <a:gd name="T3" fmla="*/ 950 h 1897"/>
              <a:gd name="T4" fmla="*/ 55 w 2297"/>
              <a:gd name="T5" fmla="*/ 928 h 1897"/>
              <a:gd name="T6" fmla="*/ 275 w 2297"/>
              <a:gd name="T7" fmla="*/ 795 h 1897"/>
              <a:gd name="T8" fmla="*/ 597 w 2297"/>
              <a:gd name="T9" fmla="*/ 546 h 1897"/>
              <a:gd name="T10" fmla="*/ 998 w 2297"/>
              <a:gd name="T11" fmla="*/ 250 h 1897"/>
              <a:gd name="T12" fmla="*/ 1311 w 2297"/>
              <a:gd name="T13" fmla="*/ 85 h 1897"/>
              <a:gd name="T14" fmla="*/ 1607 w 2297"/>
              <a:gd name="T15" fmla="*/ 6 h 1897"/>
              <a:gd name="T16" fmla="*/ 1667 w 2297"/>
              <a:gd name="T17" fmla="*/ 0 h 1897"/>
              <a:gd name="T18" fmla="*/ 1772 w 2297"/>
              <a:gd name="T19" fmla="*/ 0 h 1897"/>
              <a:gd name="T20" fmla="*/ 1851 w 2297"/>
              <a:gd name="T21" fmla="*/ 9 h 1897"/>
              <a:gd name="T22" fmla="*/ 2297 w 2297"/>
              <a:gd name="T23" fmla="*/ 211 h 1897"/>
              <a:gd name="T24" fmla="*/ 2297 w 2297"/>
              <a:gd name="T25" fmla="*/ 1394 h 1897"/>
              <a:gd name="T26" fmla="*/ 2105 w 2297"/>
              <a:gd name="T27" fmla="*/ 1520 h 1897"/>
              <a:gd name="T28" fmla="*/ 1803 w 2297"/>
              <a:gd name="T29" fmla="*/ 1632 h 1897"/>
              <a:gd name="T30" fmla="*/ 1424 w 2297"/>
              <a:gd name="T31" fmla="*/ 1719 h 1897"/>
              <a:gd name="T32" fmla="*/ 1119 w 2297"/>
              <a:gd name="T33" fmla="*/ 1799 h 1897"/>
              <a:gd name="T34" fmla="*/ 939 w 2297"/>
              <a:gd name="T35" fmla="*/ 1886 h 1897"/>
              <a:gd name="T36" fmla="*/ 910 w 2297"/>
              <a:gd name="T37" fmla="*/ 1897 h 1897"/>
              <a:gd name="T38" fmla="*/ 228 w 2297"/>
              <a:gd name="T39" fmla="*/ 1897 h 1897"/>
              <a:gd name="T40" fmla="*/ 206 w 2297"/>
              <a:gd name="T41" fmla="*/ 1883 h 1897"/>
              <a:gd name="T42" fmla="*/ 84 w 2297"/>
              <a:gd name="T43" fmla="*/ 1533 h 1897"/>
              <a:gd name="T44" fmla="*/ 3 w 2297"/>
              <a:gd name="T45" fmla="*/ 1016 h 1897"/>
              <a:gd name="T46" fmla="*/ 0 w 2297"/>
              <a:gd name="T47" fmla="*/ 973 h 1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97" h="1897">
                <a:moveTo>
                  <a:pt x="0" y="973"/>
                </a:moveTo>
                <a:cubicBezTo>
                  <a:pt x="0" y="965"/>
                  <a:pt x="0" y="958"/>
                  <a:pt x="0" y="950"/>
                </a:cubicBezTo>
                <a:cubicBezTo>
                  <a:pt x="19" y="945"/>
                  <a:pt x="37" y="936"/>
                  <a:pt x="55" y="928"/>
                </a:cubicBezTo>
                <a:cubicBezTo>
                  <a:pt x="133" y="892"/>
                  <a:pt x="205" y="845"/>
                  <a:pt x="275" y="795"/>
                </a:cubicBezTo>
                <a:cubicBezTo>
                  <a:pt x="386" y="717"/>
                  <a:pt x="490" y="630"/>
                  <a:pt x="597" y="546"/>
                </a:cubicBezTo>
                <a:cubicBezTo>
                  <a:pt x="727" y="443"/>
                  <a:pt x="858" y="341"/>
                  <a:pt x="998" y="250"/>
                </a:cubicBezTo>
                <a:cubicBezTo>
                  <a:pt x="1098" y="187"/>
                  <a:pt x="1201" y="129"/>
                  <a:pt x="1311" y="85"/>
                </a:cubicBezTo>
                <a:cubicBezTo>
                  <a:pt x="1406" y="46"/>
                  <a:pt x="1504" y="18"/>
                  <a:pt x="1607" y="6"/>
                </a:cubicBezTo>
                <a:cubicBezTo>
                  <a:pt x="1627" y="4"/>
                  <a:pt x="1647" y="2"/>
                  <a:pt x="1667" y="0"/>
                </a:cubicBezTo>
                <a:cubicBezTo>
                  <a:pt x="1702" y="0"/>
                  <a:pt x="1737" y="0"/>
                  <a:pt x="1772" y="0"/>
                </a:cubicBezTo>
                <a:cubicBezTo>
                  <a:pt x="1799" y="3"/>
                  <a:pt x="1825" y="5"/>
                  <a:pt x="1851" y="9"/>
                </a:cubicBezTo>
                <a:cubicBezTo>
                  <a:pt x="2018" y="35"/>
                  <a:pt x="2168" y="99"/>
                  <a:pt x="2297" y="211"/>
                </a:cubicBezTo>
                <a:cubicBezTo>
                  <a:pt x="2297" y="605"/>
                  <a:pt x="2297" y="999"/>
                  <a:pt x="2297" y="1394"/>
                </a:cubicBezTo>
                <a:cubicBezTo>
                  <a:pt x="2238" y="1444"/>
                  <a:pt x="2173" y="1485"/>
                  <a:pt x="2105" y="1520"/>
                </a:cubicBezTo>
                <a:cubicBezTo>
                  <a:pt x="2008" y="1569"/>
                  <a:pt x="1907" y="1604"/>
                  <a:pt x="1803" y="1632"/>
                </a:cubicBezTo>
                <a:cubicBezTo>
                  <a:pt x="1678" y="1667"/>
                  <a:pt x="1551" y="1691"/>
                  <a:pt x="1424" y="1719"/>
                </a:cubicBezTo>
                <a:cubicBezTo>
                  <a:pt x="1321" y="1741"/>
                  <a:pt x="1218" y="1764"/>
                  <a:pt x="1119" y="1799"/>
                </a:cubicBezTo>
                <a:cubicBezTo>
                  <a:pt x="1056" y="1821"/>
                  <a:pt x="995" y="1849"/>
                  <a:pt x="939" y="1886"/>
                </a:cubicBezTo>
                <a:cubicBezTo>
                  <a:pt x="930" y="1892"/>
                  <a:pt x="922" y="1897"/>
                  <a:pt x="910" y="1897"/>
                </a:cubicBezTo>
                <a:cubicBezTo>
                  <a:pt x="683" y="1897"/>
                  <a:pt x="455" y="1897"/>
                  <a:pt x="228" y="1897"/>
                </a:cubicBezTo>
                <a:cubicBezTo>
                  <a:pt x="216" y="1897"/>
                  <a:pt x="211" y="1893"/>
                  <a:pt x="206" y="1883"/>
                </a:cubicBezTo>
                <a:cubicBezTo>
                  <a:pt x="155" y="1770"/>
                  <a:pt x="115" y="1653"/>
                  <a:pt x="84" y="1533"/>
                </a:cubicBezTo>
                <a:cubicBezTo>
                  <a:pt x="40" y="1363"/>
                  <a:pt x="15" y="1191"/>
                  <a:pt x="3" y="1016"/>
                </a:cubicBezTo>
                <a:cubicBezTo>
                  <a:pt x="2" y="1002"/>
                  <a:pt x="3" y="987"/>
                  <a:pt x="0" y="973"/>
                </a:cubicBez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de-DE" sz="1350"/>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spTree>
    <p:extLst>
      <p:ext uri="{BB962C8B-B14F-4D97-AF65-F5344CB8AC3E}">
        <p14:creationId xmlns:p14="http://schemas.microsoft.com/office/powerpoint/2010/main" val="213210837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Freeform 11"/>
          <p:cNvSpPr>
            <a:spLocks/>
          </p:cNvSpPr>
          <p:nvPr userDrawn="1"/>
        </p:nvSpPr>
        <p:spPr bwMode="auto">
          <a:xfrm>
            <a:off x="-234534" y="0"/>
            <a:ext cx="6001727" cy="6857954"/>
          </a:xfrm>
          <a:custGeom>
            <a:avLst/>
            <a:gdLst>
              <a:gd name="connsiteX0" fmla="*/ 0 w 8002302"/>
              <a:gd name="connsiteY0" fmla="*/ 0 h 6857954"/>
              <a:gd name="connsiteX1" fmla="*/ 7775633 w 8002302"/>
              <a:gd name="connsiteY1" fmla="*/ 0 h 6857954"/>
              <a:gd name="connsiteX2" fmla="*/ 6625074 w 8002302"/>
              <a:gd name="connsiteY2" fmla="*/ 2643891 h 6857954"/>
              <a:gd name="connsiteX3" fmla="*/ 4083144 w 8002302"/>
              <a:gd name="connsiteY3" fmla="*/ 5598199 h 6857954"/>
              <a:gd name="connsiteX4" fmla="*/ 2647158 w 8002302"/>
              <a:gd name="connsiteY4" fmla="*/ 6727350 h 6857954"/>
              <a:gd name="connsiteX5" fmla="*/ 2451916 w 8002302"/>
              <a:gd name="connsiteY5" fmla="*/ 6857954 h 6857954"/>
              <a:gd name="connsiteX6" fmla="*/ 0 w 8002302"/>
              <a:gd name="connsiteY6" fmla="*/ 6857954 h 6857954"/>
              <a:gd name="connsiteX7" fmla="*/ 0 w 8002302"/>
              <a:gd name="connsiteY7" fmla="*/ 6714824 h 6857954"/>
              <a:gd name="connsiteX8" fmla="*/ 0 w 8002302"/>
              <a:gd name="connsiteY8" fmla="*/ 0 h 6857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2302" h="6857954">
                <a:moveTo>
                  <a:pt x="0" y="0"/>
                </a:moveTo>
                <a:lnTo>
                  <a:pt x="7775633" y="0"/>
                </a:lnTo>
                <a:cubicBezTo>
                  <a:pt x="7775633" y="0"/>
                  <a:pt x="8760296" y="1744754"/>
                  <a:pt x="6625074" y="2643891"/>
                </a:cubicBezTo>
                <a:cubicBezTo>
                  <a:pt x="4495204" y="3548381"/>
                  <a:pt x="3178751" y="4040765"/>
                  <a:pt x="4083144" y="5598199"/>
                </a:cubicBezTo>
                <a:cubicBezTo>
                  <a:pt x="3548335" y="6067838"/>
                  <a:pt x="3070531" y="6437189"/>
                  <a:pt x="2647158" y="6727350"/>
                </a:cubicBezTo>
                <a:lnTo>
                  <a:pt x="2451916" y="6857954"/>
                </a:lnTo>
                <a:lnTo>
                  <a:pt x="0" y="6857954"/>
                </a:lnTo>
                <a:lnTo>
                  <a:pt x="0" y="6714824"/>
                </a:lnTo>
                <a:cubicBezTo>
                  <a:pt x="0" y="0"/>
                  <a:pt x="0" y="0"/>
                  <a:pt x="0" y="0"/>
                </a:cubicBezTo>
                <a:close/>
              </a:path>
            </a:pathLst>
          </a:custGeom>
          <a:solidFill>
            <a:schemeClr val="accent2"/>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3707904" y="-1634"/>
            <a:ext cx="5436096" cy="6859588"/>
          </a:xfrm>
          <a:prstGeom prst="rect">
            <a:avLst/>
          </a:prstGeom>
          <a:noFill/>
        </p:spPr>
        <p:txBody>
          <a:bodyPr anchor="ctr"/>
          <a:lstStyle>
            <a:lvl1pPr marL="0" indent="0" algn="ctr">
              <a:buNone/>
              <a:defRPr/>
            </a:lvl1pPr>
          </a:lstStyle>
          <a:p>
            <a:r>
              <a:rPr lang="en-US"/>
              <a:t>Click icon to add picture</a:t>
            </a:r>
            <a:endParaRPr lang="pt-PT"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05991" y="434514"/>
            <a:ext cx="4103991" cy="1698343"/>
          </a:xfrm>
          <a:prstGeom prst="rect">
            <a:avLst/>
          </a:prstGeom>
        </p:spPr>
        <p:txBody>
          <a:bodyPr anchor="b">
            <a:noAutofit/>
          </a:bodyPr>
          <a:lstStyle>
            <a:lvl1pPr marL="0" indent="0">
              <a:lnSpc>
                <a:spcPts val="2250"/>
              </a:lnSpc>
              <a:buNone/>
              <a:defRPr sz="195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a:off x="0" y="2698314"/>
            <a:ext cx="4696606"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dirty="0"/>
          </a:p>
        </p:txBody>
      </p:sp>
      <p:sp>
        <p:nvSpPr>
          <p:cNvPr id="35" name="Text Placeholder 4">
            <a:extLst>
              <a:ext uri="{FF2B5EF4-FFF2-40B4-BE49-F238E27FC236}">
                <a16:creationId xmlns:a16="http://schemas.microsoft.com/office/drawing/2014/main" id="{E2060C84-FD71-4961-82B4-7C268461CC65}"/>
              </a:ext>
            </a:extLst>
          </p:cNvPr>
          <p:cNvSpPr>
            <a:spLocks noGrp="1"/>
          </p:cNvSpPr>
          <p:nvPr>
            <p:ph type="body" sz="quarter" idx="21" hasCustomPrompt="1"/>
          </p:nvPr>
        </p:nvSpPr>
        <p:spPr>
          <a:xfrm>
            <a:off x="5814138" y="948200"/>
            <a:ext cx="2970000" cy="412363"/>
          </a:xfrm>
          <a:prstGeom prst="rect">
            <a:avLst/>
          </a:prstGeom>
          <a:noFill/>
        </p:spPr>
        <p:txBody>
          <a:bodyPr anchor="ctr">
            <a:noAutofit/>
          </a:bodyPr>
          <a:lstStyle>
            <a:lvl1pPr algn="l">
              <a:defRPr sz="105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32" name="Text Placeholder 4">
            <a:extLst>
              <a:ext uri="{FF2B5EF4-FFF2-40B4-BE49-F238E27FC236}">
                <a16:creationId xmlns:a16="http://schemas.microsoft.com/office/drawing/2014/main" id="{2004AAFC-35BA-48A1-8C05-845440E48D80}"/>
              </a:ext>
            </a:extLst>
          </p:cNvPr>
          <p:cNvSpPr>
            <a:spLocks noGrp="1"/>
          </p:cNvSpPr>
          <p:nvPr>
            <p:ph type="body" sz="quarter" idx="18" hasCustomPrompt="1"/>
          </p:nvPr>
        </p:nvSpPr>
        <p:spPr>
          <a:xfrm>
            <a:off x="2671763" y="948200"/>
            <a:ext cx="2970000" cy="412363"/>
          </a:xfrm>
          <a:prstGeom prst="rect">
            <a:avLst/>
          </a:prstGeom>
          <a:noFill/>
        </p:spPr>
        <p:txBody>
          <a:bodyPr anchor="ctr">
            <a:noAutofit/>
          </a:bodyPr>
          <a:lstStyle>
            <a:lvl1pPr algn="l">
              <a:defRPr sz="105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305993" y="5580773"/>
            <a:ext cx="2267787" cy="331986"/>
          </a:xfrm>
          <a:prstGeom prst="rect">
            <a:avLst/>
          </a:prstGeom>
          <a:noFill/>
        </p:spPr>
        <p:txBody>
          <a:bodyPr anchor="ctr">
            <a:noAutofit/>
          </a:bodyPr>
          <a:lstStyle>
            <a:lvl1pPr algn="l">
              <a:defRPr sz="1050" b="1">
                <a:solidFill>
                  <a:schemeClr val="bg1"/>
                </a:solidFill>
              </a:defRPr>
            </a:lvl1pPr>
            <a:lvl2pPr>
              <a:defRPr sz="1050"/>
            </a:lvl2pPr>
            <a:lvl3pPr>
              <a:defRPr sz="900"/>
            </a:lvl3pPr>
            <a:lvl4pPr>
              <a:defRPr sz="825"/>
            </a:lvl4pPr>
            <a:lvl5pPr>
              <a:defRPr sz="825"/>
            </a:lvl5pPr>
          </a:lstStyle>
          <a:p>
            <a:pPr lvl="0"/>
            <a:r>
              <a:rPr lang="en-US" dirty="0"/>
              <a:t>Insert language/s</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305992" y="3601840"/>
            <a:ext cx="2267787" cy="412363"/>
          </a:xfrm>
          <a:prstGeom prst="rect">
            <a:avLst/>
          </a:prstGeom>
          <a:noFill/>
        </p:spPr>
        <p:txBody>
          <a:bodyPr anchor="ctr">
            <a:noAutofit/>
          </a:bodyPr>
          <a:lstStyle>
            <a:lvl1pPr algn="l">
              <a:spcAft>
                <a:spcPts val="0"/>
              </a:spcAft>
              <a:defRPr sz="1350" b="1">
                <a:solidFill>
                  <a:schemeClr val="bg1"/>
                </a:solidFill>
              </a:defRPr>
            </a:lvl1pPr>
            <a:lvl2pPr>
              <a:defRPr sz="1050"/>
            </a:lvl2pPr>
            <a:lvl3pPr>
              <a:defRPr sz="900"/>
            </a:lvl3pPr>
            <a:lvl4pPr>
              <a:defRPr sz="825"/>
            </a:lvl4pPr>
            <a:lvl5pPr>
              <a:defRPr sz="825"/>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305990" y="4038053"/>
            <a:ext cx="2267789" cy="54000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305992" y="5913336"/>
            <a:ext cx="2267787" cy="54000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33" name="Text Placeholder 4">
            <a:extLst>
              <a:ext uri="{FF2B5EF4-FFF2-40B4-BE49-F238E27FC236}">
                <a16:creationId xmlns:a16="http://schemas.microsoft.com/office/drawing/2014/main" id="{C387DD03-5B9B-4915-A35C-BA24C495D5E3}"/>
              </a:ext>
            </a:extLst>
          </p:cNvPr>
          <p:cNvSpPr>
            <a:spLocks noGrp="1"/>
          </p:cNvSpPr>
          <p:nvPr>
            <p:ph type="body" sz="quarter" idx="19" hasCustomPrompt="1"/>
          </p:nvPr>
        </p:nvSpPr>
        <p:spPr>
          <a:xfrm>
            <a:off x="2671763" y="3770848"/>
            <a:ext cx="2970000" cy="412363"/>
          </a:xfrm>
          <a:prstGeom prst="rect">
            <a:avLst/>
          </a:prstGeom>
          <a:noFill/>
        </p:spPr>
        <p:txBody>
          <a:bodyPr anchor="ctr">
            <a:noAutofit/>
          </a:bodyPr>
          <a:lstStyle>
            <a:lvl1pPr algn="l">
              <a:defRPr sz="1050" b="1">
                <a:solidFill>
                  <a:srgbClr val="12ABDB"/>
                </a:solidFill>
              </a:defRPr>
            </a:lvl1pPr>
            <a:lvl2pPr>
              <a:defRPr sz="1050"/>
            </a:lvl2pPr>
            <a:lvl3pPr>
              <a:defRPr sz="900"/>
            </a:lvl3pPr>
            <a:lvl4pPr>
              <a:defRPr sz="825"/>
            </a:lvl4pPr>
            <a:lvl5pPr>
              <a:defRPr sz="825"/>
            </a:lvl5pPr>
          </a:lstStyle>
          <a:p>
            <a:pPr lvl="0"/>
            <a:r>
              <a:rPr lang="en-US" dirty="0"/>
              <a:t>Click to insert title</a:t>
            </a:r>
          </a:p>
        </p:txBody>
      </p:sp>
      <p:sp>
        <p:nvSpPr>
          <p:cNvPr id="14" name="Text Placeholder 4">
            <a:extLst>
              <a:ext uri="{FF2B5EF4-FFF2-40B4-BE49-F238E27FC236}">
                <a16:creationId xmlns:a16="http://schemas.microsoft.com/office/drawing/2014/main" id="{7E551D69-F21D-4601-B4BD-97ECB52F39D6}"/>
              </a:ext>
            </a:extLst>
          </p:cNvPr>
          <p:cNvSpPr>
            <a:spLocks noGrp="1"/>
          </p:cNvSpPr>
          <p:nvPr>
            <p:ph type="body" sz="quarter" idx="23" hasCustomPrompt="1"/>
          </p:nvPr>
        </p:nvSpPr>
        <p:spPr>
          <a:xfrm>
            <a:off x="305990" y="4660835"/>
            <a:ext cx="2267789" cy="331986"/>
          </a:xfrm>
          <a:prstGeom prst="rect">
            <a:avLst/>
          </a:prstGeom>
          <a:noFill/>
        </p:spPr>
        <p:txBody>
          <a:bodyPr anchor="ctr">
            <a:noAutofit/>
          </a:bodyPr>
          <a:lstStyle>
            <a:lvl1pPr algn="l">
              <a:defRPr sz="1050" b="1">
                <a:solidFill>
                  <a:schemeClr val="bg1"/>
                </a:solidFill>
              </a:defRPr>
            </a:lvl1pPr>
            <a:lvl2pPr>
              <a:defRPr sz="1050"/>
            </a:lvl2pPr>
            <a:lvl3pPr>
              <a:defRPr sz="900"/>
            </a:lvl3pPr>
            <a:lvl4pPr>
              <a:defRPr sz="825"/>
            </a:lvl4pPr>
            <a:lvl5pPr>
              <a:defRPr sz="825"/>
            </a:lvl5pPr>
          </a:lstStyle>
          <a:p>
            <a:pPr lvl="0"/>
            <a:r>
              <a:rPr lang="en-US" dirty="0"/>
              <a:t>Insert key competence </a:t>
            </a:r>
          </a:p>
        </p:txBody>
      </p:sp>
      <p:sp>
        <p:nvSpPr>
          <p:cNvPr id="15" name="Text Placeholder 7">
            <a:extLst>
              <a:ext uri="{FF2B5EF4-FFF2-40B4-BE49-F238E27FC236}">
                <a16:creationId xmlns:a16="http://schemas.microsoft.com/office/drawing/2014/main" id="{53745724-67BB-4475-9660-FEEE12268615}"/>
              </a:ext>
            </a:extLst>
          </p:cNvPr>
          <p:cNvSpPr>
            <a:spLocks noGrp="1"/>
          </p:cNvSpPr>
          <p:nvPr>
            <p:ph type="body" sz="quarter" idx="24" hasCustomPrompt="1"/>
          </p:nvPr>
        </p:nvSpPr>
        <p:spPr>
          <a:xfrm>
            <a:off x="306780" y="5012085"/>
            <a:ext cx="2266999" cy="540000"/>
          </a:xfrm>
          <a:prstGeom prst="rect">
            <a:avLst/>
          </a:prstGeom>
        </p:spPr>
        <p:txBody>
          <a:bodyPr>
            <a:noAutofit/>
          </a:bodyPr>
          <a:lstStyle>
            <a:lvl1pPr>
              <a:lnSpc>
                <a:spcPct val="100000"/>
              </a:lnSpc>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Insert text</a:t>
            </a:r>
          </a:p>
        </p:txBody>
      </p:sp>
      <p:sp>
        <p:nvSpPr>
          <p:cNvPr id="18" name="Oval 20">
            <a:extLst>
              <a:ext uri="{FF2B5EF4-FFF2-40B4-BE49-F238E27FC236}">
                <a16:creationId xmlns:a16="http://schemas.microsoft.com/office/drawing/2014/main" id="{1EFB3510-D39A-47CF-8191-109DDF9E53D5}"/>
              </a:ext>
            </a:extLst>
          </p:cNvPr>
          <p:cNvSpPr/>
          <p:nvPr userDrawn="1"/>
        </p:nvSpPr>
        <p:spPr>
          <a:xfrm>
            <a:off x="305991" y="1124680"/>
            <a:ext cx="1781664" cy="230432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9" name="Picture Placeholder 2"/>
          <p:cNvSpPr>
            <a:spLocks noGrp="1"/>
          </p:cNvSpPr>
          <p:nvPr>
            <p:ph type="pic" sz="quarter" idx="29"/>
          </p:nvPr>
        </p:nvSpPr>
        <p:spPr>
          <a:xfrm>
            <a:off x="305527" y="1124746"/>
            <a:ext cx="1653902" cy="2242569"/>
          </a:xfrm>
          <a:prstGeom prst="ellipse">
            <a:avLst/>
          </a:prstGeom>
        </p:spPr>
        <p:txBody>
          <a:bodyPr/>
          <a:lstStyle/>
          <a:p>
            <a:r>
              <a:rPr lang="en-US"/>
              <a:t>Click icon to add picture</a:t>
            </a:r>
            <a:endParaRPr lang="en-GB"/>
          </a:p>
        </p:txBody>
      </p:sp>
      <p:sp>
        <p:nvSpPr>
          <p:cNvPr id="25" name="Text Placeholder 2"/>
          <p:cNvSpPr>
            <a:spLocks noGrp="1"/>
          </p:cNvSpPr>
          <p:nvPr>
            <p:ph type="body" sz="quarter" idx="31"/>
          </p:nvPr>
        </p:nvSpPr>
        <p:spPr>
          <a:xfrm>
            <a:off x="2671763" y="4183212"/>
            <a:ext cx="2970610" cy="2270125"/>
          </a:xfrm>
        </p:spPr>
        <p:txBody>
          <a:bodyPr/>
          <a:lstStyle>
            <a:lvl1pPr>
              <a:defRPr sz="900"/>
            </a:lvl1pPr>
            <a:lvl2pPr>
              <a:defRPr sz="900"/>
            </a:lvl2pPr>
            <a:lvl3pPr>
              <a:defRPr sz="900"/>
            </a:lvl3pPr>
            <a:lvl4pPr>
              <a:defRPr sz="900"/>
            </a:lvl4pPr>
            <a:lvl5pPr>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8" name="Text Placeholder 2"/>
          <p:cNvSpPr>
            <a:spLocks noGrp="1"/>
          </p:cNvSpPr>
          <p:nvPr>
            <p:ph type="body" sz="quarter" idx="32"/>
          </p:nvPr>
        </p:nvSpPr>
        <p:spPr>
          <a:xfrm>
            <a:off x="5814138" y="1412876"/>
            <a:ext cx="2970610" cy="5040313"/>
          </a:xfrm>
        </p:spPr>
        <p:txBody>
          <a:bodyPr/>
          <a:lstStyle>
            <a:lvl1pPr>
              <a:defRPr sz="825"/>
            </a:lvl1pPr>
            <a:lvl2pPr>
              <a:defRPr sz="825"/>
            </a:lvl2pPr>
            <a:lvl3pPr>
              <a:defRPr sz="825"/>
            </a:lvl3pPr>
            <a:lvl4pPr>
              <a:defRPr sz="825"/>
            </a:lvl4pPr>
            <a:lvl5pPr>
              <a:defRPr sz="82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9" name="Footer Placeholder 14"/>
          <p:cNvSpPr>
            <a:spLocks noGrp="1"/>
          </p:cNvSpPr>
          <p:nvPr>
            <p:ph type="ftr" sz="quarter" idx="27"/>
          </p:nvPr>
        </p:nvSpPr>
        <p:spPr>
          <a:xfrm>
            <a:off x="6993080" y="6555758"/>
            <a:ext cx="1667765" cy="219456"/>
          </a:xfrm>
        </p:spPr>
        <p:txBody>
          <a:bodyPr/>
          <a:lstStyle/>
          <a:p>
            <a:r>
              <a:rPr lang="en-US"/>
              <a:t>Virtualiation (2).pptx</a:t>
            </a:r>
            <a:endParaRPr lang="en-US" dirty="0"/>
          </a:p>
        </p:txBody>
      </p:sp>
      <p:sp>
        <p:nvSpPr>
          <p:cNvPr id="30" name="Slide Number Placeholder 15"/>
          <p:cNvSpPr>
            <a:spLocks noGrp="1"/>
          </p:cNvSpPr>
          <p:nvPr>
            <p:ph type="sldNum" sz="quarter" idx="28"/>
          </p:nvPr>
        </p:nvSpPr>
        <p:spPr>
          <a:xfrm>
            <a:off x="8838010" y="6555758"/>
            <a:ext cx="92816" cy="215444"/>
          </a:xfrm>
        </p:spPr>
        <p:txBody>
          <a:bodyPr/>
          <a:lstStyle/>
          <a:p>
            <a:fld id="{DD205EFF-948D-4AF6-B54C-65639188FB5F}" type="slidenum">
              <a:rPr lang="en-US" smtClean="0"/>
              <a:pPr/>
              <a:t>‹#›</a:t>
            </a:fld>
            <a:endParaRPr lang="en-US" dirty="0"/>
          </a:p>
        </p:txBody>
      </p:sp>
      <p:sp>
        <p:nvSpPr>
          <p:cNvPr id="7" name="Table Placeholder 6"/>
          <p:cNvSpPr>
            <a:spLocks noGrp="1"/>
          </p:cNvSpPr>
          <p:nvPr>
            <p:ph type="tbl" sz="quarter" idx="33"/>
          </p:nvPr>
        </p:nvSpPr>
        <p:spPr>
          <a:xfrm>
            <a:off x="2671763" y="1412876"/>
            <a:ext cx="2970000" cy="2303463"/>
          </a:xfrm>
        </p:spPr>
        <p:txBody>
          <a:bodyPr/>
          <a:lstStyle>
            <a:lvl1pPr>
              <a:defRPr sz="825"/>
            </a:lvl1pPr>
          </a:lstStyle>
          <a:p>
            <a:r>
              <a:rPr lang="en-US"/>
              <a:t>Click icon to add table</a:t>
            </a:r>
            <a:endParaRPr lang="en-GB" dirty="0"/>
          </a:p>
        </p:txBody>
      </p:sp>
      <p:pic>
        <p:nvPicPr>
          <p:cNvPr id="20" name="Capgemini 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64463" y="188640"/>
            <a:ext cx="1714649" cy="512108"/>
          </a:xfrm>
          <a:prstGeom prst="rect">
            <a:avLst/>
          </a:prstGeom>
        </p:spPr>
      </p:pic>
    </p:spTree>
    <p:extLst>
      <p:ext uri="{BB962C8B-B14F-4D97-AF65-F5344CB8AC3E}">
        <p14:creationId xmlns:p14="http://schemas.microsoft.com/office/powerpoint/2010/main" val="338865568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noChangeAspect="1"/>
          </p:cNvSpPr>
          <p:nvPr>
            <p:ph type="pic" sz="quarter" idx="10"/>
          </p:nvPr>
        </p:nvSpPr>
        <p:spPr>
          <a:xfrm>
            <a:off x="46808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noChangeAspect="1"/>
          </p:cNvSpPr>
          <p:nvPr>
            <p:ph type="pic" sz="quarter" idx="11"/>
          </p:nvPr>
        </p:nvSpPr>
        <p:spPr>
          <a:xfrm>
            <a:off x="4841397" y="190341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noChangeAspect="1"/>
          </p:cNvSpPr>
          <p:nvPr>
            <p:ph type="pic" sz="quarter" idx="12"/>
          </p:nvPr>
        </p:nvSpPr>
        <p:spPr>
          <a:xfrm>
            <a:off x="46808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noChangeAspect="1"/>
          </p:cNvSpPr>
          <p:nvPr>
            <p:ph type="pic" sz="quarter" idx="13"/>
          </p:nvPr>
        </p:nvSpPr>
        <p:spPr>
          <a:xfrm>
            <a:off x="4841397" y="4379454"/>
            <a:ext cx="1089422"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1655676" y="1903414"/>
            <a:ext cx="2807978" cy="1671637"/>
          </a:xfrm>
          <a:prstGeom prst="rect">
            <a:avLst/>
          </a:prstGeom>
        </p:spPr>
        <p:txBody>
          <a:bodyPr>
            <a:noAutofit/>
          </a:bodyPr>
          <a:lstStyle>
            <a:lvl1pPr>
              <a:lnSpc>
                <a:spcPts val="1200"/>
              </a:lnSpc>
              <a:defRPr sz="90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6030032" y="1903414"/>
            <a:ext cx="2807978" cy="1671637"/>
          </a:xfrm>
          <a:prstGeom prst="rect">
            <a:avLst/>
          </a:prstGeom>
        </p:spPr>
        <p:txBody>
          <a:bodyPr>
            <a:noAutofit/>
          </a:bodyPr>
          <a:lstStyle>
            <a:lvl1pPr>
              <a:lnSpc>
                <a:spcPts val="1200"/>
              </a:lnSpc>
              <a:defRPr sz="90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1655676" y="4379454"/>
            <a:ext cx="2807978" cy="1671637"/>
          </a:xfrm>
          <a:prstGeom prst="rect">
            <a:avLst/>
          </a:prstGeom>
        </p:spPr>
        <p:txBody>
          <a:bodyPr>
            <a:noAutofit/>
          </a:bodyPr>
          <a:lstStyle>
            <a:lvl1pPr>
              <a:lnSpc>
                <a:spcPts val="1200"/>
              </a:lnSpc>
              <a:defRPr sz="90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6030032" y="4379454"/>
            <a:ext cx="2807978" cy="1671637"/>
          </a:xfrm>
          <a:prstGeom prst="rect">
            <a:avLst/>
          </a:prstGeom>
        </p:spPr>
        <p:txBody>
          <a:bodyPr>
            <a:noAutofit/>
          </a:bodyPr>
          <a:lstStyle>
            <a:lvl1pPr>
              <a:lnSpc>
                <a:spcPts val="1200"/>
              </a:lnSpc>
              <a:defRPr sz="900">
                <a:solidFill>
                  <a:schemeClr val="tx1"/>
                </a:solidFill>
              </a:defRPr>
            </a:lvl1pPr>
            <a:lvl2pPr marL="129779" indent="-126206">
              <a:lnSpc>
                <a:spcPts val="1050"/>
              </a:lnSpc>
              <a:buClr>
                <a:schemeClr val="accent1"/>
              </a:buClr>
              <a:defRPr sz="900">
                <a:solidFill>
                  <a:schemeClr val="tx1"/>
                </a:solidFill>
              </a:defRPr>
            </a:lvl2pPr>
            <a:lvl3pPr marL="260747" indent="-130969">
              <a:lnSpc>
                <a:spcPts val="1050"/>
              </a:lnSpc>
              <a:buClr>
                <a:schemeClr val="accent1"/>
              </a:buClr>
              <a:defRPr sz="900">
                <a:solidFill>
                  <a:schemeClr val="tx1"/>
                </a:solidFill>
              </a:defRPr>
            </a:lvl3pPr>
            <a:lvl4pPr marL="382191" indent="-121444">
              <a:lnSpc>
                <a:spcPts val="900"/>
              </a:lnSpc>
              <a:buClr>
                <a:schemeClr val="accent1"/>
              </a:buClr>
              <a:defRPr sz="825">
                <a:solidFill>
                  <a:schemeClr val="tx1"/>
                </a:solidFill>
              </a:defRPr>
            </a:lvl4pPr>
            <a:lvl5pPr>
              <a:lnSpc>
                <a:spcPct val="100000"/>
              </a:lnSpc>
              <a:defRPr sz="900">
                <a:solidFill>
                  <a:schemeClr val="tx1"/>
                </a:solidFill>
              </a:defRPr>
            </a:lvl5pPr>
          </a:lstStyle>
          <a:p>
            <a:pPr lvl="0"/>
            <a:r>
              <a:rPr lang="en-US" dirty="0"/>
              <a:t>Click to insert text</a:t>
            </a:r>
          </a:p>
        </p:txBody>
      </p:sp>
      <p:sp>
        <p:nvSpPr>
          <p:cNvPr id="6" name="Footer Placeholder 5"/>
          <p:cNvSpPr>
            <a:spLocks noGrp="1"/>
          </p:cNvSpPr>
          <p:nvPr>
            <p:ph type="ftr" sz="quarter" idx="37"/>
          </p:nvPr>
        </p:nvSpPr>
        <p:spPr/>
        <p:txBody>
          <a:bodyPr/>
          <a:lstStyle/>
          <a:p>
            <a:r>
              <a:rPr lang="en-US"/>
              <a:t>Virtualiation (2).pptx</a:t>
            </a:r>
            <a:endParaRPr lang="en-US" dirty="0"/>
          </a:p>
        </p:txBody>
      </p:sp>
      <p:sp>
        <p:nvSpPr>
          <p:cNvPr id="7" name="Slide Number Placeholder 6"/>
          <p:cNvSpPr>
            <a:spLocks noGrp="1"/>
          </p:cNvSpPr>
          <p:nvPr>
            <p:ph type="sldNum" sz="quarter" idx="38"/>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7973977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38EB8B05-1295-4FBE-8D2F-3BFEB534AE51}"/>
              </a:ext>
            </a:extLst>
          </p:cNvPr>
          <p:cNvSpPr>
            <a:spLocks noGrp="1"/>
          </p:cNvSpPr>
          <p:nvPr>
            <p:ph type="body" sz="quarter" idx="29"/>
          </p:nvPr>
        </p:nvSpPr>
        <p:spPr>
          <a:xfrm>
            <a:off x="4978586" y="662160"/>
            <a:ext cx="3662752" cy="412363"/>
          </a:xfrm>
          <a:prstGeom prst="rect">
            <a:avLst/>
          </a:prstGeom>
          <a:noFill/>
        </p:spPr>
        <p:txBody>
          <a:bodyPr anchor="ctr">
            <a:noAutofit/>
          </a:bodyPr>
          <a:lstStyle>
            <a:lvl1pPr algn="l">
              <a:lnSpc>
                <a:spcPts val="2250"/>
              </a:lnSpc>
              <a:defRPr sz="1500" b="0">
                <a:solidFill>
                  <a:srgbClr val="12ABDB"/>
                </a:solidFill>
              </a:defRPr>
            </a:lvl1pPr>
            <a:lvl2pPr>
              <a:defRPr sz="1050"/>
            </a:lvl2pPr>
            <a:lvl3pPr>
              <a:defRPr sz="900"/>
            </a:lvl3pPr>
            <a:lvl4pPr>
              <a:defRPr sz="825"/>
            </a:lvl4pPr>
            <a:lvl5pPr>
              <a:defRPr sz="825"/>
            </a:lvl5pPr>
          </a:lstStyle>
          <a:p>
            <a:pPr lvl="0"/>
            <a:r>
              <a:rPr lang="en-US"/>
              <a:t>Edit Master text styles</a:t>
            </a:r>
          </a:p>
        </p:txBody>
      </p:sp>
      <p:sp>
        <p:nvSpPr>
          <p:cNvPr id="16" name="Text Placeholder 4">
            <a:extLst>
              <a:ext uri="{FF2B5EF4-FFF2-40B4-BE49-F238E27FC236}">
                <a16:creationId xmlns:a16="http://schemas.microsoft.com/office/drawing/2014/main" id="{89F369BB-997D-4351-8E94-506F593BC826}"/>
              </a:ext>
            </a:extLst>
          </p:cNvPr>
          <p:cNvSpPr>
            <a:spLocks noGrp="1"/>
          </p:cNvSpPr>
          <p:nvPr>
            <p:ph type="body" sz="quarter" idx="30"/>
          </p:nvPr>
        </p:nvSpPr>
        <p:spPr>
          <a:xfrm>
            <a:off x="4978586" y="4221111"/>
            <a:ext cx="3662752" cy="412363"/>
          </a:xfrm>
          <a:prstGeom prst="rect">
            <a:avLst/>
          </a:prstGeom>
          <a:noFill/>
        </p:spPr>
        <p:txBody>
          <a:bodyPr anchor="ctr">
            <a:noAutofit/>
          </a:bodyPr>
          <a:lstStyle>
            <a:lvl1pPr algn="l">
              <a:lnSpc>
                <a:spcPts val="2250"/>
              </a:lnSpc>
              <a:defRPr sz="1500" b="0">
                <a:solidFill>
                  <a:srgbClr val="12ABDB"/>
                </a:solidFill>
              </a:defRPr>
            </a:lvl1pPr>
            <a:lvl2pPr>
              <a:defRPr sz="1050"/>
            </a:lvl2pPr>
            <a:lvl3pPr>
              <a:defRPr sz="900"/>
            </a:lvl3pPr>
            <a:lvl4pPr>
              <a:defRPr sz="825"/>
            </a:lvl4pPr>
            <a:lvl5pPr>
              <a:defRPr sz="825"/>
            </a:lvl5pPr>
          </a:lstStyle>
          <a:p>
            <a:pPr lvl="0"/>
            <a:r>
              <a:rPr lang="en-US"/>
              <a:t>Edit Master text styles</a:t>
            </a:r>
          </a:p>
        </p:txBody>
      </p:sp>
      <p:sp>
        <p:nvSpPr>
          <p:cNvPr id="17" name="Text Placeholder 7">
            <a:extLst>
              <a:ext uri="{FF2B5EF4-FFF2-40B4-BE49-F238E27FC236}">
                <a16:creationId xmlns:a16="http://schemas.microsoft.com/office/drawing/2014/main" id="{1DC896E0-16D3-438F-B293-ED80E1183A74}"/>
              </a:ext>
            </a:extLst>
          </p:cNvPr>
          <p:cNvSpPr>
            <a:spLocks noGrp="1"/>
          </p:cNvSpPr>
          <p:nvPr>
            <p:ph type="body" sz="quarter" idx="31"/>
          </p:nvPr>
        </p:nvSpPr>
        <p:spPr>
          <a:xfrm>
            <a:off x="4978585" y="4810700"/>
            <a:ext cx="3662753" cy="1717101"/>
          </a:xfrm>
          <a:prstGeom prst="rect">
            <a:avLst/>
          </a:prstGeom>
        </p:spPr>
        <p:txBody>
          <a:bodyPr>
            <a:noAutofit/>
          </a:bodyPr>
          <a:lstStyle>
            <a:lvl1pPr>
              <a:lnSpc>
                <a:spcPts val="1200"/>
              </a:lnSpc>
              <a:defRPr sz="1050"/>
            </a:lvl1pPr>
            <a:lvl2pPr marL="129779" indent="-126206">
              <a:lnSpc>
                <a:spcPts val="1050"/>
              </a:lnSpc>
              <a:defRPr sz="900"/>
            </a:lvl2pPr>
            <a:lvl3pPr marL="260747" indent="-130969">
              <a:lnSpc>
                <a:spcPts val="900"/>
              </a:lnSpc>
              <a:defRPr sz="825"/>
            </a:lvl3pPr>
            <a:lvl4pPr marL="303610" indent="-86916">
              <a:lnSpc>
                <a:spcPts val="825"/>
              </a:lnSpc>
              <a:defRPr sz="750"/>
            </a:lvl4pPr>
            <a:lvl5pPr>
              <a:lnSpc>
                <a:spcPct val="100000"/>
              </a:lnSpc>
              <a:defRPr sz="900"/>
            </a:lvl5pPr>
          </a:lstStyle>
          <a:p>
            <a:pPr lvl="0"/>
            <a:r>
              <a:rPr lang="en-US"/>
              <a:t>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a16="http://schemas.microsoft.com/office/drawing/2014/main" id="{766AF42E-C565-4CFD-A0C6-69ADC5ED724D}"/>
              </a:ext>
            </a:extLst>
          </p:cNvPr>
          <p:cNvSpPr>
            <a:spLocks noGrp="1"/>
          </p:cNvSpPr>
          <p:nvPr>
            <p:ph type="body" sz="quarter" idx="32"/>
          </p:nvPr>
        </p:nvSpPr>
        <p:spPr>
          <a:xfrm>
            <a:off x="4978585"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19" name="Text Placeholder 7">
            <a:extLst>
              <a:ext uri="{FF2B5EF4-FFF2-40B4-BE49-F238E27FC236}">
                <a16:creationId xmlns:a16="http://schemas.microsoft.com/office/drawing/2014/main" id="{FEEE7B4B-7781-4178-8912-CB53DC7910B1}"/>
              </a:ext>
            </a:extLst>
          </p:cNvPr>
          <p:cNvSpPr>
            <a:spLocks noGrp="1"/>
          </p:cNvSpPr>
          <p:nvPr>
            <p:ph type="body" sz="quarter" idx="33"/>
          </p:nvPr>
        </p:nvSpPr>
        <p:spPr>
          <a:xfrm>
            <a:off x="7104822" y="1265729"/>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0" name="Text Placeholder 7">
            <a:extLst>
              <a:ext uri="{FF2B5EF4-FFF2-40B4-BE49-F238E27FC236}">
                <a16:creationId xmlns:a16="http://schemas.microsoft.com/office/drawing/2014/main" id="{65D71B9F-4F61-41D4-A7CC-FD63E71DC5A6}"/>
              </a:ext>
            </a:extLst>
          </p:cNvPr>
          <p:cNvSpPr>
            <a:spLocks noGrp="1"/>
          </p:cNvSpPr>
          <p:nvPr>
            <p:ph type="body" sz="quarter" idx="34"/>
          </p:nvPr>
        </p:nvSpPr>
        <p:spPr>
          <a:xfrm>
            <a:off x="4978585"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1" name="Text Placeholder 7">
            <a:extLst>
              <a:ext uri="{FF2B5EF4-FFF2-40B4-BE49-F238E27FC236}">
                <a16:creationId xmlns:a16="http://schemas.microsoft.com/office/drawing/2014/main" id="{1BD170B4-C089-4F45-8016-02293706DE36}"/>
              </a:ext>
            </a:extLst>
          </p:cNvPr>
          <p:cNvSpPr>
            <a:spLocks noGrp="1"/>
          </p:cNvSpPr>
          <p:nvPr>
            <p:ph type="body" sz="quarter" idx="35"/>
          </p:nvPr>
        </p:nvSpPr>
        <p:spPr>
          <a:xfrm>
            <a:off x="7104822" y="2455545"/>
            <a:ext cx="1486236" cy="1058371"/>
          </a:xfrm>
          <a:prstGeom prst="rect">
            <a:avLst/>
          </a:prstGeom>
        </p:spPr>
        <p:txBody>
          <a:bodyPr>
            <a:noAutofit/>
          </a:bodyPr>
          <a:lstStyle>
            <a:lvl1pPr>
              <a:lnSpc>
                <a:spcPts val="1050"/>
              </a:lnSpc>
              <a:defRPr sz="90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22" name="Freeform: Shape 21">
            <a:extLst>
              <a:ext uri="{FF2B5EF4-FFF2-40B4-BE49-F238E27FC236}">
                <a16:creationId xmlns:a16="http://schemas.microsoft.com/office/drawing/2014/main" id="{E1D38B64-120F-4B33-BFE3-9536C55688C0}"/>
              </a:ext>
            </a:extLst>
          </p:cNvPr>
          <p:cNvSpPr>
            <a:spLocks/>
          </p:cNvSpPr>
          <p:nvPr userDrawn="1"/>
        </p:nvSpPr>
        <p:spPr bwMode="auto">
          <a:xfrm>
            <a:off x="0" y="0"/>
            <a:ext cx="4735698"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pt-PT" sz="1350"/>
          </a:p>
        </p:txBody>
      </p:sp>
      <p:sp>
        <p:nvSpPr>
          <p:cNvPr id="23" name="Freeform 26">
            <a:extLst>
              <a:ext uri="{FF2B5EF4-FFF2-40B4-BE49-F238E27FC236}">
                <a16:creationId xmlns:a16="http://schemas.microsoft.com/office/drawing/2014/main" id="{B017E329-98D6-4441-B449-FBAD88FAA377}"/>
              </a:ext>
            </a:extLst>
          </p:cNvPr>
          <p:cNvSpPr>
            <a:spLocks/>
          </p:cNvSpPr>
          <p:nvPr userDrawn="1"/>
        </p:nvSpPr>
        <p:spPr bwMode="auto">
          <a:xfrm>
            <a:off x="4266306" y="4703083"/>
            <a:ext cx="310754"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4" name="Freeform 27">
            <a:extLst>
              <a:ext uri="{FF2B5EF4-FFF2-40B4-BE49-F238E27FC236}">
                <a16:creationId xmlns:a16="http://schemas.microsoft.com/office/drawing/2014/main" id="{8015E310-A729-4C80-936F-71D663EE6DA7}"/>
              </a:ext>
            </a:extLst>
          </p:cNvPr>
          <p:cNvSpPr>
            <a:spLocks/>
          </p:cNvSpPr>
          <p:nvPr userDrawn="1"/>
        </p:nvSpPr>
        <p:spPr bwMode="auto">
          <a:xfrm>
            <a:off x="4103902" y="4458435"/>
            <a:ext cx="473158"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pt-PT" sz="1350" b="1"/>
          </a:p>
        </p:txBody>
      </p:sp>
      <p:sp>
        <p:nvSpPr>
          <p:cNvPr id="25" name="Text Placeholder 7">
            <a:extLst>
              <a:ext uri="{FF2B5EF4-FFF2-40B4-BE49-F238E27FC236}">
                <a16:creationId xmlns:a16="http://schemas.microsoft.com/office/drawing/2014/main" id="{BBB56F29-6918-4BD4-9377-61503A926466}"/>
              </a:ext>
            </a:extLst>
          </p:cNvPr>
          <p:cNvSpPr>
            <a:spLocks noGrp="1"/>
          </p:cNvSpPr>
          <p:nvPr>
            <p:ph type="body" sz="quarter" idx="36"/>
          </p:nvPr>
        </p:nvSpPr>
        <p:spPr>
          <a:xfrm>
            <a:off x="309520" y="4869077"/>
            <a:ext cx="2508065" cy="1088820"/>
          </a:xfrm>
          <a:prstGeom prst="rect">
            <a:avLst/>
          </a:prstGeom>
        </p:spPr>
        <p:txBody>
          <a:bodyPr anchor="b">
            <a:noAutofit/>
          </a:bodyPr>
          <a:lstStyle>
            <a:lvl1pPr>
              <a:lnSpc>
                <a:spcPts val="1200"/>
              </a:lnSpc>
              <a:spcAft>
                <a:spcPts val="0"/>
              </a:spcAft>
              <a:defRPr sz="10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a:t>Edit Master text styles</a:t>
            </a:r>
          </a:p>
        </p:txBody>
      </p:sp>
      <p:sp>
        <p:nvSpPr>
          <p:cNvPr id="6" name="Footer Placeholder 5"/>
          <p:cNvSpPr>
            <a:spLocks noGrp="1"/>
          </p:cNvSpPr>
          <p:nvPr>
            <p:ph type="ftr" sz="quarter" idx="38"/>
          </p:nvPr>
        </p:nvSpPr>
        <p:spPr/>
        <p:txBody>
          <a:bodyPr/>
          <a:lstStyle/>
          <a:p>
            <a:r>
              <a:rPr lang="en-US"/>
              <a:t>Virtualiation (2).pptx</a:t>
            </a:r>
            <a:endParaRPr lang="en-US" dirty="0"/>
          </a:p>
        </p:txBody>
      </p:sp>
      <p:sp>
        <p:nvSpPr>
          <p:cNvPr id="7" name="Slide Number Placeholder 6"/>
          <p:cNvSpPr>
            <a:spLocks noGrp="1"/>
          </p:cNvSpPr>
          <p:nvPr>
            <p:ph type="sldNum" sz="quarter" idx="39"/>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170698422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314292682"/>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252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8" name="Freeform 5"/>
          <p:cNvSpPr>
            <a:spLocks/>
          </p:cNvSpPr>
          <p:nvPr userDrawn="1"/>
        </p:nvSpPr>
        <p:spPr bwMode="auto">
          <a:xfrm>
            <a:off x="1" y="1"/>
            <a:ext cx="5046119" cy="6238418"/>
          </a:xfrm>
          <a:custGeom>
            <a:avLst/>
            <a:gdLst>
              <a:gd name="T0" fmla="*/ 1 w 2122"/>
              <a:gd name="T1" fmla="*/ 0 h 1967"/>
              <a:gd name="T2" fmla="*/ 1662 w 2122"/>
              <a:gd name="T3" fmla="*/ 0 h 1967"/>
              <a:gd name="T4" fmla="*/ 1669 w 2122"/>
              <a:gd name="T5" fmla="*/ 9 h 1967"/>
              <a:gd name="T6" fmla="*/ 1815 w 2122"/>
              <a:gd name="T7" fmla="*/ 158 h 1967"/>
              <a:gd name="T8" fmla="*/ 2031 w 2122"/>
              <a:gd name="T9" fmla="*/ 451 h 1967"/>
              <a:gd name="T10" fmla="*/ 2116 w 2122"/>
              <a:gd name="T11" fmla="*/ 718 h 1967"/>
              <a:gd name="T12" fmla="*/ 2073 w 2122"/>
              <a:gd name="T13" fmla="*/ 955 h 1967"/>
              <a:gd name="T14" fmla="*/ 1898 w 2122"/>
              <a:gd name="T15" fmla="*/ 1179 h 1967"/>
              <a:gd name="T16" fmla="*/ 1659 w 2122"/>
              <a:gd name="T17" fmla="*/ 1351 h 1967"/>
              <a:gd name="T18" fmla="*/ 1314 w 2122"/>
              <a:gd name="T19" fmla="*/ 1534 h 1967"/>
              <a:gd name="T20" fmla="*/ 1001 w 2122"/>
              <a:gd name="T21" fmla="*/ 1698 h 1967"/>
              <a:gd name="T22" fmla="*/ 833 w 2122"/>
              <a:gd name="T23" fmla="*/ 1819 h 1967"/>
              <a:gd name="T24" fmla="*/ 761 w 2122"/>
              <a:gd name="T25" fmla="*/ 1934 h 1967"/>
              <a:gd name="T26" fmla="*/ 752 w 2122"/>
              <a:gd name="T27" fmla="*/ 1942 h 1967"/>
              <a:gd name="T28" fmla="*/ 582 w 2122"/>
              <a:gd name="T29" fmla="*/ 1963 h 1967"/>
              <a:gd name="T30" fmla="*/ 409 w 2122"/>
              <a:gd name="T31" fmla="*/ 1910 h 1967"/>
              <a:gd name="T32" fmla="*/ 243 w 2122"/>
              <a:gd name="T33" fmla="*/ 1757 h 1967"/>
              <a:gd name="T34" fmla="*/ 98 w 2122"/>
              <a:gd name="T35" fmla="*/ 1476 h 1967"/>
              <a:gd name="T36" fmla="*/ 13 w 2122"/>
              <a:gd name="T37" fmla="*/ 1161 h 1967"/>
              <a:gd name="T38" fmla="*/ 1 w 2122"/>
              <a:gd name="T39" fmla="*/ 1063 h 1967"/>
              <a:gd name="T40" fmla="*/ 1 w 2122"/>
              <a:gd name="T41" fmla="*/ 16 h 1967"/>
              <a:gd name="T42" fmla="*/ 1 w 2122"/>
              <a:gd name="T43"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22" h="1967">
                <a:moveTo>
                  <a:pt x="1" y="0"/>
                </a:moveTo>
                <a:cubicBezTo>
                  <a:pt x="555" y="0"/>
                  <a:pt x="1108" y="0"/>
                  <a:pt x="1662" y="0"/>
                </a:cubicBezTo>
                <a:cubicBezTo>
                  <a:pt x="1664" y="3"/>
                  <a:pt x="1666" y="6"/>
                  <a:pt x="1669" y="9"/>
                </a:cubicBezTo>
                <a:cubicBezTo>
                  <a:pt x="1718" y="59"/>
                  <a:pt x="1768" y="107"/>
                  <a:pt x="1815" y="158"/>
                </a:cubicBezTo>
                <a:cubicBezTo>
                  <a:pt x="1898" y="248"/>
                  <a:pt x="1973" y="344"/>
                  <a:pt x="2031" y="451"/>
                </a:cubicBezTo>
                <a:cubicBezTo>
                  <a:pt x="2076" y="535"/>
                  <a:pt x="2108" y="623"/>
                  <a:pt x="2116" y="718"/>
                </a:cubicBezTo>
                <a:cubicBezTo>
                  <a:pt x="2122" y="800"/>
                  <a:pt x="2108" y="880"/>
                  <a:pt x="2073" y="955"/>
                </a:cubicBezTo>
                <a:cubicBezTo>
                  <a:pt x="2032" y="1043"/>
                  <a:pt x="1970" y="1115"/>
                  <a:pt x="1898" y="1179"/>
                </a:cubicBezTo>
                <a:cubicBezTo>
                  <a:pt x="1825" y="1245"/>
                  <a:pt x="1743" y="1300"/>
                  <a:pt x="1659" y="1351"/>
                </a:cubicBezTo>
                <a:cubicBezTo>
                  <a:pt x="1547" y="1418"/>
                  <a:pt x="1431" y="1476"/>
                  <a:pt x="1314" y="1534"/>
                </a:cubicBezTo>
                <a:cubicBezTo>
                  <a:pt x="1209" y="1587"/>
                  <a:pt x="1102" y="1638"/>
                  <a:pt x="1001" y="1698"/>
                </a:cubicBezTo>
                <a:cubicBezTo>
                  <a:pt x="941" y="1733"/>
                  <a:pt x="883" y="1770"/>
                  <a:pt x="833" y="1819"/>
                </a:cubicBezTo>
                <a:cubicBezTo>
                  <a:pt x="800" y="1852"/>
                  <a:pt x="773" y="1888"/>
                  <a:pt x="761" y="1934"/>
                </a:cubicBezTo>
                <a:cubicBezTo>
                  <a:pt x="761" y="1937"/>
                  <a:pt x="755" y="1941"/>
                  <a:pt x="752" y="1942"/>
                </a:cubicBezTo>
                <a:cubicBezTo>
                  <a:pt x="696" y="1958"/>
                  <a:pt x="640" y="1967"/>
                  <a:pt x="582" y="1963"/>
                </a:cubicBezTo>
                <a:cubicBezTo>
                  <a:pt x="520" y="1958"/>
                  <a:pt x="463" y="1941"/>
                  <a:pt x="409" y="1910"/>
                </a:cubicBezTo>
                <a:cubicBezTo>
                  <a:pt x="342" y="1872"/>
                  <a:pt x="289" y="1818"/>
                  <a:pt x="243" y="1757"/>
                </a:cubicBezTo>
                <a:cubicBezTo>
                  <a:pt x="180" y="1671"/>
                  <a:pt x="134" y="1575"/>
                  <a:pt x="98" y="1476"/>
                </a:cubicBezTo>
                <a:cubicBezTo>
                  <a:pt x="60" y="1373"/>
                  <a:pt x="33" y="1268"/>
                  <a:pt x="13" y="1161"/>
                </a:cubicBezTo>
                <a:cubicBezTo>
                  <a:pt x="8" y="1128"/>
                  <a:pt x="1" y="1096"/>
                  <a:pt x="1" y="1063"/>
                </a:cubicBezTo>
                <a:cubicBezTo>
                  <a:pt x="0" y="714"/>
                  <a:pt x="1" y="365"/>
                  <a:pt x="1" y="16"/>
                </a:cubicBezTo>
                <a:cubicBezTo>
                  <a:pt x="1" y="11"/>
                  <a:pt x="1" y="6"/>
                  <a:pt x="1" y="0"/>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de-DE" sz="1350"/>
          </a:p>
        </p:txBody>
      </p:sp>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305991" y="2439343"/>
            <a:ext cx="3705134" cy="1008112"/>
          </a:xfrm>
          <a:prstGeom prst="rect">
            <a:avLst/>
          </a:prstGeom>
        </p:spPr>
        <p:txBody>
          <a:bodyPr anchor="t">
            <a:noAutofit/>
          </a:bodyPr>
          <a:lstStyle>
            <a:lvl1pPr algn="l">
              <a:lnSpc>
                <a:spcPts val="1350"/>
              </a:lnSpc>
              <a:spcAft>
                <a:spcPts val="450"/>
              </a:spcAft>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0"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5922150" y="140492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1"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5922150" y="5918247"/>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2" name="Text Placeholder 7">
            <a:extLst>
              <a:ext uri="{FF2B5EF4-FFF2-40B4-BE49-F238E27FC236}">
                <a16:creationId xmlns:a16="http://schemas.microsoft.com/office/drawing/2014/main" id="{ABF327CC-2917-45F5-82B2-75A9F742E63A}"/>
              </a:ext>
            </a:extLst>
          </p:cNvPr>
          <p:cNvSpPr>
            <a:spLocks noGrp="1"/>
          </p:cNvSpPr>
          <p:nvPr>
            <p:ph type="body" sz="quarter" idx="38" hasCustomPrompt="1"/>
          </p:nvPr>
        </p:nvSpPr>
        <p:spPr>
          <a:xfrm>
            <a:off x="5922150" y="501558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3" name="Text Placeholder 7">
            <a:extLst>
              <a:ext uri="{FF2B5EF4-FFF2-40B4-BE49-F238E27FC236}">
                <a16:creationId xmlns:a16="http://schemas.microsoft.com/office/drawing/2014/main" id="{169195DA-4761-45A5-B68F-E20845F04F0C}"/>
              </a:ext>
            </a:extLst>
          </p:cNvPr>
          <p:cNvSpPr>
            <a:spLocks noGrp="1"/>
          </p:cNvSpPr>
          <p:nvPr>
            <p:ph type="body" sz="quarter" idx="39" hasCustomPrompt="1"/>
          </p:nvPr>
        </p:nvSpPr>
        <p:spPr>
          <a:xfrm>
            <a:off x="5922150" y="411291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4" name="Text Placeholder 7">
            <a:extLst>
              <a:ext uri="{FF2B5EF4-FFF2-40B4-BE49-F238E27FC236}">
                <a16:creationId xmlns:a16="http://schemas.microsoft.com/office/drawing/2014/main" id="{343313FC-7C2A-4C39-A322-E5328A14AED9}"/>
              </a:ext>
            </a:extLst>
          </p:cNvPr>
          <p:cNvSpPr>
            <a:spLocks noGrp="1"/>
          </p:cNvSpPr>
          <p:nvPr>
            <p:ph type="body" sz="quarter" idx="40" hasCustomPrompt="1"/>
          </p:nvPr>
        </p:nvSpPr>
        <p:spPr>
          <a:xfrm>
            <a:off x="5922150" y="3210251"/>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25" name="Text Placeholder 7">
            <a:extLst>
              <a:ext uri="{FF2B5EF4-FFF2-40B4-BE49-F238E27FC236}">
                <a16:creationId xmlns:a16="http://schemas.microsoft.com/office/drawing/2014/main" id="{C9E896F1-84B5-4E7A-BD88-FFAFED8559EB}"/>
              </a:ext>
            </a:extLst>
          </p:cNvPr>
          <p:cNvSpPr>
            <a:spLocks noGrp="1"/>
          </p:cNvSpPr>
          <p:nvPr>
            <p:ph type="body" sz="quarter" idx="41" hasCustomPrompt="1"/>
          </p:nvPr>
        </p:nvSpPr>
        <p:spPr>
          <a:xfrm>
            <a:off x="5922150" y="2307586"/>
            <a:ext cx="2915860" cy="524886"/>
          </a:xfrm>
          <a:prstGeom prst="rect">
            <a:avLst/>
          </a:prstGeom>
        </p:spPr>
        <p:txBody>
          <a:bodyPr anchor="ctr">
            <a:noAutofit/>
          </a:bodyPr>
          <a:lstStyle>
            <a:lvl1pPr algn="l">
              <a:lnSpc>
                <a:spcPts val="1200"/>
              </a:lnSpc>
              <a:defRPr sz="1050">
                <a:solidFill>
                  <a:schemeClr val="tx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1447298"/>
            <a:ext cx="4103991"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2" name="Footer Placeholder 11"/>
          <p:cNvSpPr>
            <a:spLocks noGrp="1"/>
          </p:cNvSpPr>
          <p:nvPr>
            <p:ph type="ftr" sz="quarter" idx="43"/>
          </p:nvPr>
        </p:nvSpPr>
        <p:spPr/>
        <p:txBody>
          <a:bodyPr/>
          <a:lstStyle/>
          <a:p>
            <a:r>
              <a:rPr lang="en-US"/>
              <a:t>Virtualiation (2).pptx</a:t>
            </a:r>
            <a:endParaRPr lang="en-US" dirty="0"/>
          </a:p>
        </p:txBody>
      </p:sp>
      <p:sp>
        <p:nvSpPr>
          <p:cNvPr id="13" name="Slide Number Placeholder 12"/>
          <p:cNvSpPr>
            <a:spLocks noGrp="1"/>
          </p:cNvSpPr>
          <p:nvPr>
            <p:ph type="sldNum" sz="quarter" idx="44"/>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1458139846"/>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047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C50C01FB-E2BF-4470-A153-6F7BF3CCF3F9}"/>
              </a:ext>
            </a:extLst>
          </p:cNvPr>
          <p:cNvSpPr/>
          <p:nvPr userDrawn="1"/>
        </p:nvSpPr>
        <p:spPr>
          <a:xfrm>
            <a:off x="0" y="4437112"/>
            <a:ext cx="9144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9" name="Freeform 5"/>
          <p:cNvSpPr>
            <a:spLocks/>
          </p:cNvSpPr>
          <p:nvPr userDrawn="1"/>
        </p:nvSpPr>
        <p:spPr bwMode="auto">
          <a:xfrm>
            <a:off x="7907566" y="1"/>
            <a:ext cx="1236434" cy="5085230"/>
          </a:xfrm>
          <a:custGeom>
            <a:avLst/>
            <a:gdLst>
              <a:gd name="T0" fmla="*/ 91 w 548"/>
              <a:gd name="T1" fmla="*/ 0 h 1694"/>
              <a:gd name="T2" fmla="*/ 548 w 548"/>
              <a:gd name="T3" fmla="*/ 0 h 1694"/>
              <a:gd name="T4" fmla="*/ 548 w 548"/>
              <a:gd name="T5" fmla="*/ 1694 h 1694"/>
              <a:gd name="T6" fmla="*/ 489 w 548"/>
              <a:gd name="T7" fmla="*/ 1661 h 1694"/>
              <a:gd name="T8" fmla="*/ 233 w 548"/>
              <a:gd name="T9" fmla="*/ 1367 h 1694"/>
              <a:gd name="T10" fmla="*/ 129 w 548"/>
              <a:gd name="T11" fmla="*/ 1033 h 1694"/>
              <a:gd name="T12" fmla="*/ 83 w 548"/>
              <a:gd name="T13" fmla="*/ 629 h 1694"/>
              <a:gd name="T14" fmla="*/ 54 w 548"/>
              <a:gd name="T15" fmla="*/ 304 h 1694"/>
              <a:gd name="T16" fmla="*/ 2 w 548"/>
              <a:gd name="T17" fmla="*/ 84 h 1694"/>
              <a:gd name="T18" fmla="*/ 6 w 548"/>
              <a:gd name="T19" fmla="*/ 73 h 1694"/>
              <a:gd name="T20" fmla="*/ 83 w 548"/>
              <a:gd name="T21" fmla="*/ 8 h 1694"/>
              <a:gd name="T22" fmla="*/ 91 w 548"/>
              <a:gd name="T23" fmla="*/ 0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8" h="1694">
                <a:moveTo>
                  <a:pt x="91" y="0"/>
                </a:moveTo>
                <a:cubicBezTo>
                  <a:pt x="243" y="0"/>
                  <a:pt x="395" y="0"/>
                  <a:pt x="548" y="0"/>
                </a:cubicBezTo>
                <a:cubicBezTo>
                  <a:pt x="548" y="564"/>
                  <a:pt x="548" y="1129"/>
                  <a:pt x="548" y="1694"/>
                </a:cubicBezTo>
                <a:cubicBezTo>
                  <a:pt x="528" y="1683"/>
                  <a:pt x="508" y="1673"/>
                  <a:pt x="489" y="1661"/>
                </a:cubicBezTo>
                <a:cubicBezTo>
                  <a:pt x="375" y="1588"/>
                  <a:pt x="292" y="1488"/>
                  <a:pt x="233" y="1367"/>
                </a:cubicBezTo>
                <a:cubicBezTo>
                  <a:pt x="181" y="1261"/>
                  <a:pt x="151" y="1149"/>
                  <a:pt x="129" y="1033"/>
                </a:cubicBezTo>
                <a:cubicBezTo>
                  <a:pt x="105" y="900"/>
                  <a:pt x="94" y="765"/>
                  <a:pt x="83" y="629"/>
                </a:cubicBezTo>
                <a:cubicBezTo>
                  <a:pt x="75" y="521"/>
                  <a:pt x="66" y="413"/>
                  <a:pt x="54" y="304"/>
                </a:cubicBezTo>
                <a:cubicBezTo>
                  <a:pt x="46" y="229"/>
                  <a:pt x="31" y="155"/>
                  <a:pt x="2" y="84"/>
                </a:cubicBezTo>
                <a:cubicBezTo>
                  <a:pt x="0" y="78"/>
                  <a:pt x="2" y="76"/>
                  <a:pt x="6" y="73"/>
                </a:cubicBezTo>
                <a:cubicBezTo>
                  <a:pt x="32" y="51"/>
                  <a:pt x="58" y="30"/>
                  <a:pt x="83" y="8"/>
                </a:cubicBezTo>
                <a:cubicBezTo>
                  <a:pt x="86" y="6"/>
                  <a:pt x="88" y="3"/>
                  <a:pt x="91" y="0"/>
                </a:cubicBez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de-DE" sz="1350"/>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8660845" y="188640"/>
            <a:ext cx="318267" cy="459624"/>
          </a:xfrm>
          <a:prstGeom prst="rect">
            <a:avLst/>
          </a:prstGeom>
        </p:spPr>
      </p:pic>
      <p:sp>
        <p:nvSpPr>
          <p:cNvPr id="11" name="Title 10"/>
          <p:cNvSpPr>
            <a:spLocks noGrp="1"/>
          </p:cNvSpPr>
          <p:nvPr>
            <p:ph type="title"/>
          </p:nvPr>
        </p:nvSpPr>
        <p:spPr/>
        <p:txBody>
          <a:bodyPr/>
          <a:lstStyle/>
          <a:p>
            <a:r>
              <a:rPr lang="en-US"/>
              <a:t>Click to edit Master title style</a:t>
            </a:r>
            <a:endParaRPr lang="de-DE"/>
          </a:p>
        </p:txBody>
      </p:sp>
      <p:sp>
        <p:nvSpPr>
          <p:cNvPr id="13" name="Footer Placeholder 12"/>
          <p:cNvSpPr>
            <a:spLocks noGrp="1"/>
          </p:cNvSpPr>
          <p:nvPr>
            <p:ph type="ftr" sz="quarter" idx="11"/>
          </p:nvPr>
        </p:nvSpPr>
        <p:spPr/>
        <p:txBody>
          <a:bodyPr/>
          <a:lstStyle/>
          <a:p>
            <a:r>
              <a:rPr lang="en-US"/>
              <a:t>Virtualiation (2).pptx</a:t>
            </a:r>
            <a:endParaRPr lang="en-US" dirty="0"/>
          </a:p>
        </p:txBody>
      </p:sp>
      <p:sp>
        <p:nvSpPr>
          <p:cNvPr id="16" name="Slide Number Placeholder 15"/>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0D0D1E5A-3176-4CB4-975A-4DC18D29026C}"/>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16200000">
            <a:off x="3202525" y="916521"/>
            <a:ext cx="6857997" cy="5024954"/>
          </a:xfrm>
          <a:prstGeom prst="rect">
            <a:avLst/>
          </a:prstGeom>
        </p:spPr>
      </p:pic>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5016274" y="4308294"/>
            <a:ext cx="2613252" cy="1721321"/>
          </a:xfrm>
          <a:prstGeom prst="rect">
            <a:avLst/>
          </a:prstGeom>
        </p:spPr>
        <p:txBody>
          <a:bodyPr vert="horz" lIns="0" tIns="0" rIns="0" bIns="45720" rtlCol="0" anchor="b">
            <a:noAutofit/>
          </a:bodyPr>
          <a:lstStyle>
            <a:lvl1pPr>
              <a:lnSpc>
                <a:spcPts val="2250"/>
              </a:lnSpc>
              <a:defRPr sz="195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305992" y="5085184"/>
            <a:ext cx="3092531" cy="944430"/>
          </a:xfrm>
          <a:prstGeom prst="rect">
            <a:avLst/>
          </a:prstGeom>
        </p:spPr>
        <p:txBody>
          <a:bodyPr anchor="b">
            <a:noAutofit/>
          </a:bodyPr>
          <a:lstStyle>
            <a:lvl1pPr>
              <a:lnSpc>
                <a:spcPts val="1650"/>
              </a:lnSpc>
              <a:spcAft>
                <a:spcPts val="0"/>
              </a:spcAft>
              <a:defRPr sz="1350"/>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pic>
        <p:nvPicPr>
          <p:cNvPr id="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8660845" y="188640"/>
            <a:ext cx="318267" cy="459624"/>
          </a:xfrm>
          <a:prstGeom prst="rect">
            <a:avLst/>
          </a:prstGeom>
        </p:spPr>
      </p:pic>
      <p:cxnSp>
        <p:nvCxnSpPr>
          <p:cNvPr id="15"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867657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9" name="Footer Placeholder 8"/>
          <p:cNvSpPr>
            <a:spLocks noGrp="1"/>
          </p:cNvSpPr>
          <p:nvPr>
            <p:ph type="ftr" sz="quarter" idx="34"/>
          </p:nvPr>
        </p:nvSpPr>
        <p:spPr/>
        <p:txBody>
          <a:bodyPr/>
          <a:lstStyle>
            <a:lvl1pPr>
              <a:defRPr>
                <a:solidFill>
                  <a:schemeClr val="bg1"/>
                </a:solidFill>
              </a:defRPr>
            </a:lvl1pPr>
          </a:lstStyle>
          <a:p>
            <a:r>
              <a:rPr lang="en-US"/>
              <a:t>Virtualiation (2).pptx</a:t>
            </a:r>
            <a:endParaRPr lang="en-US" dirty="0"/>
          </a:p>
        </p:txBody>
      </p:sp>
      <p:sp>
        <p:nvSpPr>
          <p:cNvPr id="10" name="Slide Number Placeholder 9"/>
          <p:cNvSpPr>
            <a:spLocks noGrp="1"/>
          </p:cNvSpPr>
          <p:nvPr>
            <p:ph type="sldNum" sz="quarter" idx="35"/>
          </p:nvPr>
        </p:nvSpPr>
        <p:spPr/>
        <p:txBody>
          <a:bodyPr/>
          <a:lstStyle>
            <a:lvl1pPr>
              <a:defRPr>
                <a:solidFill>
                  <a:schemeClr val="bg1"/>
                </a:solidFill>
              </a:defRPr>
            </a:lvl1p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344907960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1851144264"/>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842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9" name="Freeform 5"/>
          <p:cNvSpPr>
            <a:spLocks/>
          </p:cNvSpPr>
          <p:nvPr userDrawn="1"/>
        </p:nvSpPr>
        <p:spPr bwMode="auto">
          <a:xfrm>
            <a:off x="1" y="1"/>
            <a:ext cx="4089227" cy="6384585"/>
          </a:xfrm>
          <a:custGeom>
            <a:avLst/>
            <a:gdLst>
              <a:gd name="T0" fmla="*/ 0 w 1745"/>
              <a:gd name="T1" fmla="*/ 1807 h 2044"/>
              <a:gd name="T2" fmla="*/ 0 w 1745"/>
              <a:gd name="T3" fmla="*/ 0 h 2044"/>
              <a:gd name="T4" fmla="*/ 1742 w 1745"/>
              <a:gd name="T5" fmla="*/ 0 h 2044"/>
              <a:gd name="T6" fmla="*/ 1742 w 1745"/>
              <a:gd name="T7" fmla="*/ 10 h 2044"/>
              <a:gd name="T8" fmla="*/ 1735 w 1745"/>
              <a:gd name="T9" fmla="*/ 160 h 2044"/>
              <a:gd name="T10" fmla="*/ 1654 w 1745"/>
              <a:gd name="T11" fmla="*/ 439 h 2044"/>
              <a:gd name="T12" fmla="*/ 1452 w 1745"/>
              <a:gd name="T13" fmla="*/ 821 h 2044"/>
              <a:gd name="T14" fmla="*/ 1197 w 1745"/>
              <a:gd name="T15" fmla="*/ 1214 h 2044"/>
              <a:gd name="T16" fmla="*/ 1019 w 1745"/>
              <a:gd name="T17" fmla="*/ 1509 h 2044"/>
              <a:gd name="T18" fmla="*/ 946 w 1745"/>
              <a:gd name="T19" fmla="*/ 1692 h 2044"/>
              <a:gd name="T20" fmla="*/ 945 w 1745"/>
              <a:gd name="T21" fmla="*/ 1848 h 2044"/>
              <a:gd name="T22" fmla="*/ 941 w 1745"/>
              <a:gd name="T23" fmla="*/ 1857 h 2044"/>
              <a:gd name="T24" fmla="*/ 873 w 1745"/>
              <a:gd name="T25" fmla="*/ 1920 h 2044"/>
              <a:gd name="T26" fmla="*/ 522 w 1745"/>
              <a:gd name="T27" fmla="*/ 2037 h 2044"/>
              <a:gd name="T28" fmla="*/ 267 w 1745"/>
              <a:gd name="T29" fmla="*/ 1971 h 2044"/>
              <a:gd name="T30" fmla="*/ 12 w 1745"/>
              <a:gd name="T31" fmla="*/ 1814 h 2044"/>
              <a:gd name="T32" fmla="*/ 0 w 1745"/>
              <a:gd name="T33" fmla="*/ 1807 h 2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45" h="2044">
                <a:moveTo>
                  <a:pt x="0" y="1807"/>
                </a:moveTo>
                <a:cubicBezTo>
                  <a:pt x="0" y="1205"/>
                  <a:pt x="0" y="602"/>
                  <a:pt x="0" y="0"/>
                </a:cubicBezTo>
                <a:cubicBezTo>
                  <a:pt x="580" y="0"/>
                  <a:pt x="1161" y="0"/>
                  <a:pt x="1742" y="0"/>
                </a:cubicBezTo>
                <a:cubicBezTo>
                  <a:pt x="1742" y="3"/>
                  <a:pt x="1741" y="7"/>
                  <a:pt x="1742" y="10"/>
                </a:cubicBezTo>
                <a:cubicBezTo>
                  <a:pt x="1745" y="60"/>
                  <a:pt x="1742" y="110"/>
                  <a:pt x="1735" y="160"/>
                </a:cubicBezTo>
                <a:cubicBezTo>
                  <a:pt x="1721" y="257"/>
                  <a:pt x="1691" y="349"/>
                  <a:pt x="1654" y="439"/>
                </a:cubicBezTo>
                <a:cubicBezTo>
                  <a:pt x="1599" y="573"/>
                  <a:pt x="1529" y="699"/>
                  <a:pt x="1452" y="821"/>
                </a:cubicBezTo>
                <a:cubicBezTo>
                  <a:pt x="1369" y="953"/>
                  <a:pt x="1282" y="1083"/>
                  <a:pt x="1197" y="1214"/>
                </a:cubicBezTo>
                <a:cubicBezTo>
                  <a:pt x="1134" y="1311"/>
                  <a:pt x="1072" y="1407"/>
                  <a:pt x="1019" y="1509"/>
                </a:cubicBezTo>
                <a:cubicBezTo>
                  <a:pt x="989" y="1568"/>
                  <a:pt x="962" y="1628"/>
                  <a:pt x="946" y="1692"/>
                </a:cubicBezTo>
                <a:cubicBezTo>
                  <a:pt x="933" y="1744"/>
                  <a:pt x="929" y="1796"/>
                  <a:pt x="945" y="1848"/>
                </a:cubicBezTo>
                <a:cubicBezTo>
                  <a:pt x="945" y="1850"/>
                  <a:pt x="943" y="1855"/>
                  <a:pt x="941" y="1857"/>
                </a:cubicBezTo>
                <a:cubicBezTo>
                  <a:pt x="919" y="1878"/>
                  <a:pt x="897" y="1901"/>
                  <a:pt x="873" y="1920"/>
                </a:cubicBezTo>
                <a:cubicBezTo>
                  <a:pt x="771" y="2003"/>
                  <a:pt x="654" y="2044"/>
                  <a:pt x="522" y="2037"/>
                </a:cubicBezTo>
                <a:cubicBezTo>
                  <a:pt x="432" y="2032"/>
                  <a:pt x="348" y="2007"/>
                  <a:pt x="267" y="1971"/>
                </a:cubicBezTo>
                <a:cubicBezTo>
                  <a:pt x="175" y="1929"/>
                  <a:pt x="92" y="1875"/>
                  <a:pt x="12" y="1814"/>
                </a:cubicBezTo>
                <a:cubicBezTo>
                  <a:pt x="8" y="1811"/>
                  <a:pt x="4" y="1809"/>
                  <a:pt x="0" y="1807"/>
                </a:cubicBez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de-DE" sz="1350"/>
          </a:p>
        </p:txBody>
      </p:sp>
      <p:sp>
        <p:nvSpPr>
          <p:cNvPr id="15" name="Picture Placeholder 14">
            <a:extLst>
              <a:ext uri="{FF2B5EF4-FFF2-40B4-BE49-F238E27FC236}">
                <a16:creationId xmlns:a16="http://schemas.microsoft.com/office/drawing/2014/main" id="{218E0C47-FBAF-440E-A6A0-9D14AE6071F8}"/>
              </a:ext>
            </a:extLst>
          </p:cNvPr>
          <p:cNvSpPr>
            <a:spLocks noGrp="1"/>
          </p:cNvSpPr>
          <p:nvPr>
            <p:ph type="pic" sz="quarter" idx="10"/>
          </p:nvPr>
        </p:nvSpPr>
        <p:spPr>
          <a:xfrm>
            <a:off x="1" y="-1"/>
            <a:ext cx="9143999" cy="6857998"/>
          </a:xfrm>
          <a:custGeom>
            <a:avLst/>
            <a:gdLst>
              <a:gd name="connsiteX0" fmla="*/ 0 w 12191999"/>
              <a:gd name="connsiteY0" fmla="*/ 0 h 6857998"/>
              <a:gd name="connsiteX1" fmla="*/ 12191999 w 12191999"/>
              <a:gd name="connsiteY1" fmla="*/ 0 h 6857998"/>
              <a:gd name="connsiteX2" fmla="*/ 12191999 w 12191999"/>
              <a:gd name="connsiteY2" fmla="*/ 6857998 h 6857998"/>
              <a:gd name="connsiteX3" fmla="*/ 0 w 12191999"/>
              <a:gd name="connsiteY3" fmla="*/ 6857998 h 6857998"/>
              <a:gd name="connsiteX4" fmla="*/ 0 w 12191999"/>
              <a:gd name="connsiteY4" fmla="*/ 5644299 h 6857998"/>
              <a:gd name="connsiteX5" fmla="*/ 37495 w 12191999"/>
              <a:gd name="connsiteY5" fmla="*/ 5666164 h 6857998"/>
              <a:gd name="connsiteX6" fmla="*/ 834250 w 12191999"/>
              <a:gd name="connsiteY6" fmla="*/ 6156565 h 6857998"/>
              <a:gd name="connsiteX7" fmla="*/ 1631004 w 12191999"/>
              <a:gd name="connsiteY7" fmla="*/ 6362721 h 6857998"/>
              <a:gd name="connsiteX8" fmla="*/ 2727714 w 12191999"/>
              <a:gd name="connsiteY8" fmla="*/ 5997263 h 6857998"/>
              <a:gd name="connsiteX9" fmla="*/ 2940182 w 12191999"/>
              <a:gd name="connsiteY9" fmla="*/ 5800478 h 6857998"/>
              <a:gd name="connsiteX10" fmla="*/ 2952680 w 12191999"/>
              <a:gd name="connsiteY10" fmla="*/ 5772366 h 6857998"/>
              <a:gd name="connsiteX11" fmla="*/ 2955805 w 12191999"/>
              <a:gd name="connsiteY11" fmla="*/ 5285088 h 6857998"/>
              <a:gd name="connsiteX12" fmla="*/ 3183895 w 12191999"/>
              <a:gd name="connsiteY12" fmla="*/ 4713474 h 6857998"/>
              <a:gd name="connsiteX13" fmla="*/ 3740061 w 12191999"/>
              <a:gd name="connsiteY13" fmla="*/ 3792020 h 6857998"/>
              <a:gd name="connsiteX14" fmla="*/ 4536816 w 12191999"/>
              <a:gd name="connsiteY14" fmla="*/ 2564455 h 6857998"/>
              <a:gd name="connsiteX15" fmla="*/ 5167971 w 12191999"/>
              <a:gd name="connsiteY15" fmla="*/ 1371250 h 6857998"/>
              <a:gd name="connsiteX16" fmla="*/ 5421058 w 12191999"/>
              <a:gd name="connsiteY16" fmla="*/ 499773 h 6857998"/>
              <a:gd name="connsiteX17" fmla="*/ 5442930 w 12191999"/>
              <a:gd name="connsiteY17" fmla="*/ 31237 h 6857998"/>
              <a:gd name="connsiteX18" fmla="*/ 5442930 w 12191999"/>
              <a:gd name="connsiteY18" fmla="*/ 1 h 6857998"/>
              <a:gd name="connsiteX19" fmla="*/ 0 w 12191999"/>
              <a:gd name="connsiteY19" fmla="*/ 1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1999" h="6857998">
                <a:moveTo>
                  <a:pt x="0" y="0"/>
                </a:moveTo>
                <a:lnTo>
                  <a:pt x="12191999" y="0"/>
                </a:lnTo>
                <a:lnTo>
                  <a:pt x="12191999" y="6857998"/>
                </a:lnTo>
                <a:lnTo>
                  <a:pt x="0" y="6857998"/>
                </a:lnTo>
                <a:lnTo>
                  <a:pt x="0" y="5644299"/>
                </a:lnTo>
                <a:cubicBezTo>
                  <a:pt x="12498" y="5650546"/>
                  <a:pt x="24996" y="5656794"/>
                  <a:pt x="37495" y="5666164"/>
                </a:cubicBezTo>
                <a:cubicBezTo>
                  <a:pt x="287457" y="5856702"/>
                  <a:pt x="546793" y="6025375"/>
                  <a:pt x="834250" y="6156565"/>
                </a:cubicBezTo>
                <a:cubicBezTo>
                  <a:pt x="1087336" y="6269014"/>
                  <a:pt x="1349797" y="6347103"/>
                  <a:pt x="1631004" y="6362721"/>
                </a:cubicBezTo>
                <a:cubicBezTo>
                  <a:pt x="2043442" y="6384586"/>
                  <a:pt x="2409012" y="6256520"/>
                  <a:pt x="2727714" y="5997263"/>
                </a:cubicBezTo>
                <a:cubicBezTo>
                  <a:pt x="2802703" y="5937915"/>
                  <a:pt x="2871442" y="5866073"/>
                  <a:pt x="2940182" y="5800478"/>
                </a:cubicBezTo>
                <a:cubicBezTo>
                  <a:pt x="2946431" y="5794231"/>
                  <a:pt x="2952680" y="5778613"/>
                  <a:pt x="2952680" y="5772366"/>
                </a:cubicBezTo>
                <a:cubicBezTo>
                  <a:pt x="2902688" y="5609940"/>
                  <a:pt x="2915186" y="5447514"/>
                  <a:pt x="2955805" y="5285088"/>
                </a:cubicBezTo>
                <a:cubicBezTo>
                  <a:pt x="3005797" y="5085180"/>
                  <a:pt x="3090159" y="4897765"/>
                  <a:pt x="3183895" y="4713474"/>
                </a:cubicBezTo>
                <a:cubicBezTo>
                  <a:pt x="3349495" y="4394870"/>
                  <a:pt x="3543216" y="4095006"/>
                  <a:pt x="3740061" y="3792020"/>
                </a:cubicBezTo>
                <a:cubicBezTo>
                  <a:pt x="4005646" y="3382832"/>
                  <a:pt x="4277480" y="2976767"/>
                  <a:pt x="4536816" y="2564455"/>
                </a:cubicBezTo>
                <a:cubicBezTo>
                  <a:pt x="4777405" y="2183379"/>
                  <a:pt x="4996122" y="1789809"/>
                  <a:pt x="5167971" y="1371250"/>
                </a:cubicBezTo>
                <a:cubicBezTo>
                  <a:pt x="5283579" y="1090128"/>
                  <a:pt x="5377315" y="802760"/>
                  <a:pt x="5421058" y="499773"/>
                </a:cubicBezTo>
                <a:cubicBezTo>
                  <a:pt x="5442930" y="343594"/>
                  <a:pt x="5452303" y="187416"/>
                  <a:pt x="5442930" y="31237"/>
                </a:cubicBezTo>
                <a:cubicBezTo>
                  <a:pt x="5439805" y="21866"/>
                  <a:pt x="5442930" y="9372"/>
                  <a:pt x="5442930" y="1"/>
                </a:cubicBezTo>
                <a:cubicBezTo>
                  <a:pt x="3627578" y="1"/>
                  <a:pt x="1812227" y="1"/>
                  <a:pt x="0" y="1"/>
                </a:cubicBezTo>
                <a:close/>
              </a:path>
            </a:pathLst>
          </a:custGeom>
          <a:noFill/>
        </p:spPr>
        <p:txBody>
          <a:bodyPr wrap="square" anchor="ctr">
            <a:noAutofit/>
          </a:bodyP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305991" y="1988841"/>
            <a:ext cx="2699835"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 name="Footer Placeholder 2"/>
          <p:cNvSpPr>
            <a:spLocks noGrp="1"/>
          </p:cNvSpPr>
          <p:nvPr>
            <p:ph type="ftr" sz="quarter" idx="34"/>
          </p:nvPr>
        </p:nvSpPr>
        <p:spPr/>
        <p:txBody>
          <a:bodyPr/>
          <a:lstStyle/>
          <a:p>
            <a:r>
              <a:rPr lang="en-US"/>
              <a:t>Virtualiation (2).pptx</a:t>
            </a:r>
          </a:p>
        </p:txBody>
      </p:sp>
      <p:sp>
        <p:nvSpPr>
          <p:cNvPr id="4" name="Slide Number Placeholder 3"/>
          <p:cNvSpPr>
            <a:spLocks noGrp="1"/>
          </p:cNvSpPr>
          <p:nvPr>
            <p:ph type="sldNum" sz="quarter" idx="35"/>
          </p:nvPr>
        </p:nvSpPr>
        <p:spPr/>
        <p:txBody>
          <a:bodyPr/>
          <a:lstStyle/>
          <a:p>
            <a:pPr algn="r"/>
            <a:fld id="{DD205EFF-948D-4AF6-B54C-65639188FB5F}" type="slidenum">
              <a:rPr lang="en-US" smtClean="0"/>
              <a:pPr algn="r"/>
              <a:t>‹#›</a:t>
            </a:fld>
            <a:endParaRPr lang="en-US"/>
          </a:p>
        </p:txBody>
      </p:sp>
    </p:spTree>
    <p:extLst>
      <p:ext uri="{BB962C8B-B14F-4D97-AF65-F5344CB8AC3E}">
        <p14:creationId xmlns:p14="http://schemas.microsoft.com/office/powerpoint/2010/main" val="6020122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1667452066"/>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945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8" name="Freeform 5"/>
          <p:cNvSpPr>
            <a:spLocks/>
          </p:cNvSpPr>
          <p:nvPr userDrawn="1"/>
        </p:nvSpPr>
        <p:spPr bwMode="auto">
          <a:xfrm>
            <a:off x="0" y="0"/>
            <a:ext cx="7029450" cy="6858000"/>
          </a:xfrm>
          <a:custGeom>
            <a:avLst/>
            <a:gdLst>
              <a:gd name="T0" fmla="*/ 810 w 2953"/>
              <a:gd name="T1" fmla="*/ 2160 h 2160"/>
              <a:gd name="T2" fmla="*/ 0 w 2953"/>
              <a:gd name="T3" fmla="*/ 2160 h 2160"/>
              <a:gd name="T4" fmla="*/ 0 w 2953"/>
              <a:gd name="T5" fmla="*/ 0 h 2160"/>
              <a:gd name="T6" fmla="*/ 2953 w 2953"/>
              <a:gd name="T7" fmla="*/ 0 h 2160"/>
              <a:gd name="T8" fmla="*/ 2951 w 2953"/>
              <a:gd name="T9" fmla="*/ 9 h 2160"/>
              <a:gd name="T10" fmla="*/ 2912 w 2953"/>
              <a:gd name="T11" fmla="*/ 104 h 2160"/>
              <a:gd name="T12" fmla="*/ 2689 w 2953"/>
              <a:gd name="T13" fmla="*/ 359 h 2160"/>
              <a:gd name="T14" fmla="*/ 2421 w 2953"/>
              <a:gd name="T15" fmla="*/ 509 h 2160"/>
              <a:gd name="T16" fmla="*/ 1974 w 2953"/>
              <a:gd name="T17" fmla="*/ 701 h 2160"/>
              <a:gd name="T18" fmla="*/ 1632 w 2953"/>
              <a:gd name="T19" fmla="*/ 876 h 2160"/>
              <a:gd name="T20" fmla="*/ 1411 w 2953"/>
              <a:gd name="T21" fmla="*/ 1047 h 2160"/>
              <a:gd name="T22" fmla="*/ 1306 w 2953"/>
              <a:gd name="T23" fmla="*/ 1219 h 2160"/>
              <a:gd name="T24" fmla="*/ 1303 w 2953"/>
              <a:gd name="T25" fmla="*/ 1459 h 2160"/>
              <a:gd name="T26" fmla="*/ 1396 w 2953"/>
              <a:gd name="T27" fmla="*/ 1682 h 2160"/>
              <a:gd name="T28" fmla="*/ 1403 w 2953"/>
              <a:gd name="T29" fmla="*/ 1695 h 2160"/>
              <a:gd name="T30" fmla="*/ 1398 w 2953"/>
              <a:gd name="T31" fmla="*/ 1700 h 2160"/>
              <a:gd name="T32" fmla="*/ 882 w 2953"/>
              <a:gd name="T33" fmla="*/ 2110 h 2160"/>
              <a:gd name="T34" fmla="*/ 810 w 2953"/>
              <a:gd name="T35" fmla="*/ 2160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53" h="2160">
                <a:moveTo>
                  <a:pt x="810" y="2160"/>
                </a:moveTo>
                <a:cubicBezTo>
                  <a:pt x="540" y="2160"/>
                  <a:pt x="270" y="2160"/>
                  <a:pt x="0" y="2160"/>
                </a:cubicBezTo>
                <a:cubicBezTo>
                  <a:pt x="0" y="1440"/>
                  <a:pt x="0" y="720"/>
                  <a:pt x="0" y="0"/>
                </a:cubicBezTo>
                <a:cubicBezTo>
                  <a:pt x="984" y="0"/>
                  <a:pt x="1969" y="0"/>
                  <a:pt x="2953" y="0"/>
                </a:cubicBezTo>
                <a:cubicBezTo>
                  <a:pt x="2952" y="3"/>
                  <a:pt x="2952" y="6"/>
                  <a:pt x="2951" y="9"/>
                </a:cubicBezTo>
                <a:cubicBezTo>
                  <a:pt x="2938" y="41"/>
                  <a:pt x="2927" y="73"/>
                  <a:pt x="2912" y="104"/>
                </a:cubicBezTo>
                <a:cubicBezTo>
                  <a:pt x="2859" y="208"/>
                  <a:pt x="2782" y="290"/>
                  <a:pt x="2689" y="359"/>
                </a:cubicBezTo>
                <a:cubicBezTo>
                  <a:pt x="2607" y="421"/>
                  <a:pt x="2516" y="468"/>
                  <a:pt x="2421" y="509"/>
                </a:cubicBezTo>
                <a:cubicBezTo>
                  <a:pt x="2272" y="572"/>
                  <a:pt x="2123" y="636"/>
                  <a:pt x="1974" y="701"/>
                </a:cubicBezTo>
                <a:cubicBezTo>
                  <a:pt x="1857" y="753"/>
                  <a:pt x="1742" y="809"/>
                  <a:pt x="1632" y="876"/>
                </a:cubicBezTo>
                <a:cubicBezTo>
                  <a:pt x="1551" y="924"/>
                  <a:pt x="1475" y="978"/>
                  <a:pt x="1411" y="1047"/>
                </a:cubicBezTo>
                <a:cubicBezTo>
                  <a:pt x="1364" y="1097"/>
                  <a:pt x="1327" y="1153"/>
                  <a:pt x="1306" y="1219"/>
                </a:cubicBezTo>
                <a:cubicBezTo>
                  <a:pt x="1280" y="1299"/>
                  <a:pt x="1283" y="1379"/>
                  <a:pt x="1303" y="1459"/>
                </a:cubicBezTo>
                <a:cubicBezTo>
                  <a:pt x="1323" y="1538"/>
                  <a:pt x="1357" y="1612"/>
                  <a:pt x="1396" y="1682"/>
                </a:cubicBezTo>
                <a:cubicBezTo>
                  <a:pt x="1399" y="1687"/>
                  <a:pt x="1401" y="1691"/>
                  <a:pt x="1403" y="1695"/>
                </a:cubicBezTo>
                <a:cubicBezTo>
                  <a:pt x="1401" y="1697"/>
                  <a:pt x="1399" y="1698"/>
                  <a:pt x="1398" y="1700"/>
                </a:cubicBezTo>
                <a:cubicBezTo>
                  <a:pt x="1232" y="1845"/>
                  <a:pt x="1061" y="1983"/>
                  <a:pt x="882" y="2110"/>
                </a:cubicBezTo>
                <a:cubicBezTo>
                  <a:pt x="858" y="2127"/>
                  <a:pt x="834" y="2143"/>
                  <a:pt x="810" y="2160"/>
                </a:cubicBez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de-DE" sz="1350"/>
          </a:p>
        </p:txBody>
      </p:sp>
      <p:sp>
        <p:nvSpPr>
          <p:cNvPr id="16" name="Picture Placeholder 15">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9144000" cy="6857998"/>
          </a:xfrm>
          <a:custGeom>
            <a:avLst/>
            <a:gdLst>
              <a:gd name="connsiteX0" fmla="*/ 0 w 12192000"/>
              <a:gd name="connsiteY0" fmla="*/ 0 h 6857998"/>
              <a:gd name="connsiteX1" fmla="*/ 12192000 w 12192000"/>
              <a:gd name="connsiteY1" fmla="*/ 0 h 6857998"/>
              <a:gd name="connsiteX2" fmla="*/ 12192000 w 12192000"/>
              <a:gd name="connsiteY2" fmla="*/ 6857998 h 6857998"/>
              <a:gd name="connsiteX3" fmla="*/ 2570884 w 12192000"/>
              <a:gd name="connsiteY3" fmla="*/ 6857998 h 6857998"/>
              <a:gd name="connsiteX4" fmla="*/ 2799402 w 12192000"/>
              <a:gd name="connsiteY4" fmla="*/ 6699251 h 6857998"/>
              <a:gd name="connsiteX5" fmla="*/ 4437147 w 12192000"/>
              <a:gd name="connsiteY5" fmla="*/ 5397501 h 6857998"/>
              <a:gd name="connsiteX6" fmla="*/ 4453017 w 12192000"/>
              <a:gd name="connsiteY6" fmla="*/ 5381626 h 6857998"/>
              <a:gd name="connsiteX7" fmla="*/ 4430799 w 12192000"/>
              <a:gd name="connsiteY7" fmla="*/ 5340351 h 6857998"/>
              <a:gd name="connsiteX8" fmla="*/ 4135624 w 12192000"/>
              <a:gd name="connsiteY8" fmla="*/ 4632326 h 6857998"/>
              <a:gd name="connsiteX9" fmla="*/ 4145146 w 12192000"/>
              <a:gd name="connsiteY9" fmla="*/ 3870326 h 6857998"/>
              <a:gd name="connsiteX10" fmla="*/ 4478408 w 12192000"/>
              <a:gd name="connsiteY10" fmla="*/ 3324226 h 6857998"/>
              <a:gd name="connsiteX11" fmla="*/ 5179846 w 12192000"/>
              <a:gd name="connsiteY11" fmla="*/ 2781301 h 6857998"/>
              <a:gd name="connsiteX12" fmla="*/ 6265328 w 12192000"/>
              <a:gd name="connsiteY12" fmla="*/ 2225676 h 6857998"/>
              <a:gd name="connsiteX13" fmla="*/ 7684072 w 12192000"/>
              <a:gd name="connsiteY13" fmla="*/ 1616076 h 6857998"/>
              <a:gd name="connsiteX14" fmla="*/ 8534684 w 12192000"/>
              <a:gd name="connsiteY14" fmla="*/ 1139826 h 6857998"/>
              <a:gd name="connsiteX15" fmla="*/ 9242469 w 12192000"/>
              <a:gd name="connsiteY15" fmla="*/ 330201 h 6857998"/>
              <a:gd name="connsiteX16" fmla="*/ 9366252 w 12192000"/>
              <a:gd name="connsiteY16" fmla="*/ 28576 h 6857998"/>
              <a:gd name="connsiteX17" fmla="*/ 9372600 w 12192000"/>
              <a:gd name="connsiteY17" fmla="*/ 1 h 6857998"/>
              <a:gd name="connsiteX18" fmla="*/ 0 w 12192000"/>
              <a:gd name="connsiteY18" fmla="*/ 1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192000" h="6857998">
                <a:moveTo>
                  <a:pt x="0" y="0"/>
                </a:moveTo>
                <a:lnTo>
                  <a:pt x="12192000" y="0"/>
                </a:lnTo>
                <a:lnTo>
                  <a:pt x="12192000" y="6857998"/>
                </a:lnTo>
                <a:lnTo>
                  <a:pt x="2570884" y="6857998"/>
                </a:lnTo>
                <a:lnTo>
                  <a:pt x="2799402" y="6699251"/>
                </a:lnTo>
                <a:cubicBezTo>
                  <a:pt x="3367535" y="6296026"/>
                  <a:pt x="3910276" y="5857876"/>
                  <a:pt x="4437147" y="5397501"/>
                </a:cubicBezTo>
                <a:cubicBezTo>
                  <a:pt x="4440322" y="5391151"/>
                  <a:pt x="4446669" y="5387976"/>
                  <a:pt x="4453017" y="5381626"/>
                </a:cubicBezTo>
                <a:cubicBezTo>
                  <a:pt x="4446669" y="5368926"/>
                  <a:pt x="4440322" y="5356226"/>
                  <a:pt x="4430799" y="5340351"/>
                </a:cubicBezTo>
                <a:cubicBezTo>
                  <a:pt x="4307016" y="5118101"/>
                  <a:pt x="4199103" y="4883151"/>
                  <a:pt x="4135624" y="4632326"/>
                </a:cubicBezTo>
                <a:cubicBezTo>
                  <a:pt x="4072146" y="4378326"/>
                  <a:pt x="4062624" y="4124326"/>
                  <a:pt x="4145146" y="3870326"/>
                </a:cubicBezTo>
                <a:cubicBezTo>
                  <a:pt x="4211798" y="3660776"/>
                  <a:pt x="4329234" y="3482976"/>
                  <a:pt x="4478408" y="3324226"/>
                </a:cubicBezTo>
                <a:cubicBezTo>
                  <a:pt x="4681539" y="3105151"/>
                  <a:pt x="4922758" y="2933701"/>
                  <a:pt x="5179846" y="2781301"/>
                </a:cubicBezTo>
                <a:cubicBezTo>
                  <a:pt x="5528977" y="2568576"/>
                  <a:pt x="5893979" y="2390776"/>
                  <a:pt x="6265328" y="2225676"/>
                </a:cubicBezTo>
                <a:cubicBezTo>
                  <a:pt x="6738243" y="2019301"/>
                  <a:pt x="7211157" y="1816101"/>
                  <a:pt x="7684072" y="1616076"/>
                </a:cubicBezTo>
                <a:cubicBezTo>
                  <a:pt x="7985595" y="1485901"/>
                  <a:pt x="8274422" y="1336676"/>
                  <a:pt x="8534684" y="1139826"/>
                </a:cubicBezTo>
                <a:cubicBezTo>
                  <a:pt x="8829859" y="920751"/>
                  <a:pt x="9074251" y="660401"/>
                  <a:pt x="9242469" y="330201"/>
                </a:cubicBezTo>
                <a:cubicBezTo>
                  <a:pt x="9290078" y="231776"/>
                  <a:pt x="9324991" y="130176"/>
                  <a:pt x="9366252" y="28576"/>
                </a:cubicBezTo>
                <a:cubicBezTo>
                  <a:pt x="9369426" y="19051"/>
                  <a:pt x="9369426" y="9526"/>
                  <a:pt x="9372600" y="1"/>
                </a:cubicBezTo>
                <a:cubicBezTo>
                  <a:pt x="6249458" y="1"/>
                  <a:pt x="3123142" y="1"/>
                  <a:pt x="0" y="1"/>
                </a:cubicBezTo>
                <a:close/>
              </a:path>
            </a:pathLst>
          </a:custGeom>
          <a:noFill/>
        </p:spPr>
        <p:txBody>
          <a:bodyPr wrap="square" anchor="ctr">
            <a:noAutofit/>
          </a:bodyP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305991" y="649982"/>
            <a:ext cx="3239895" cy="1194843"/>
          </a:xfrm>
          <a:prstGeom prst="rect">
            <a:avLst/>
          </a:prstGeom>
        </p:spPr>
        <p:txBody>
          <a:bodyPr vert="horz" lIns="0" tIns="0" rIns="0" bIns="0" rtlCol="0" anchor="b">
            <a:normAutofit/>
          </a:bodyPr>
          <a:lstStyle>
            <a:lvl1pPr>
              <a:lnSpc>
                <a:spcPts val="2250"/>
              </a:lnSpc>
              <a:defRPr sz="195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305991" y="1988841"/>
            <a:ext cx="2781863" cy="1152127"/>
          </a:xfrm>
          <a:prstGeom prst="rect">
            <a:avLst/>
          </a:prstGeom>
        </p:spPr>
        <p:txBody>
          <a:bodyPr lIns="0" tIns="0" rIns="0" bIns="0">
            <a:noAutofit/>
          </a:bodyPr>
          <a:lstStyle>
            <a:lvl1pP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3" name="Footer Placeholder 2"/>
          <p:cNvSpPr>
            <a:spLocks noGrp="1"/>
          </p:cNvSpPr>
          <p:nvPr>
            <p:ph type="ftr" sz="quarter" idx="34"/>
          </p:nvPr>
        </p:nvSpPr>
        <p:spPr/>
        <p:txBody>
          <a:bodyPr/>
          <a:lstStyle/>
          <a:p>
            <a:r>
              <a:rPr lang="en-US"/>
              <a:t>Virtualiation (2).pptx</a:t>
            </a:r>
          </a:p>
        </p:txBody>
      </p:sp>
      <p:sp>
        <p:nvSpPr>
          <p:cNvPr id="4" name="Slide Number Placeholder 3"/>
          <p:cNvSpPr>
            <a:spLocks noGrp="1"/>
          </p:cNvSpPr>
          <p:nvPr>
            <p:ph type="sldNum" sz="quarter" idx="35"/>
          </p:nvPr>
        </p:nvSpPr>
        <p:spPr/>
        <p:txBody>
          <a:bodyPr/>
          <a:lstStyle/>
          <a:p>
            <a:pPr algn="r"/>
            <a:fld id="{DD205EFF-948D-4AF6-B54C-65639188FB5F}" type="slidenum">
              <a:rPr lang="en-US" smtClean="0"/>
              <a:pPr algn="r"/>
              <a:t>‹#›</a:t>
            </a:fld>
            <a:endParaRPr lang="en-US"/>
          </a:p>
        </p:txBody>
      </p:sp>
    </p:spTree>
    <p:extLst>
      <p:ext uri="{BB962C8B-B14F-4D97-AF65-F5344CB8AC3E}">
        <p14:creationId xmlns:p14="http://schemas.microsoft.com/office/powerpoint/2010/main" val="17515161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4 (with image)">
    <p:bg>
      <p:bgPr>
        <a:solidFill>
          <a:schemeClr val="bg2"/>
        </a:solidFill>
        <a:effectLst/>
      </p:bgPr>
    </p:bg>
    <p:spTree>
      <p:nvGrpSpPr>
        <p:cNvPr id="1" name=""/>
        <p:cNvGrpSpPr/>
        <p:nvPr/>
      </p:nvGrpSpPr>
      <p:grpSpPr>
        <a:xfrm>
          <a:off x="0" y="0"/>
          <a:ext cx="0" cy="0"/>
          <a:chOff x="0" y="0"/>
          <a:chExt cx="0" cy="0"/>
        </a:xfrm>
      </p:grpSpPr>
      <p:pic>
        <p:nvPicPr>
          <p:cNvPr id="6"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userDrawn="1">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userDrawn="1">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9" name="Freeform 8"/>
          <p:cNvSpPr>
            <a:spLocks/>
          </p:cNvSpPr>
          <p:nvPr userDrawn="1"/>
        </p:nvSpPr>
        <p:spPr bwMode="auto">
          <a:xfrm rot="16200000" flipH="1">
            <a:off x="4130486" y="657541"/>
            <a:ext cx="5668785" cy="4353705"/>
          </a:xfrm>
          <a:custGeom>
            <a:avLst/>
            <a:gdLst>
              <a:gd name="connsiteX0" fmla="*/ 0 w 5668785"/>
              <a:gd name="connsiteY0" fmla="*/ 1025493 h 5804940"/>
              <a:gd name="connsiteX1" fmla="*/ 0 w 5668785"/>
              <a:gd name="connsiteY1" fmla="*/ 5780147 h 5804940"/>
              <a:gd name="connsiteX2" fmla="*/ 0 w 5668785"/>
              <a:gd name="connsiteY2" fmla="*/ 5804940 h 5804940"/>
              <a:gd name="connsiteX3" fmla="*/ 4356105 w 5668785"/>
              <a:gd name="connsiteY3" fmla="*/ 5804940 h 5804940"/>
              <a:gd name="connsiteX4" fmla="*/ 4387147 w 5668785"/>
              <a:gd name="connsiteY4" fmla="*/ 5753960 h 5804940"/>
              <a:gd name="connsiteX5" fmla="*/ 4144239 w 5668785"/>
              <a:gd name="connsiteY5" fmla="*/ 0 h 5804940"/>
              <a:gd name="connsiteX6" fmla="*/ 0 w 5668785"/>
              <a:gd name="connsiteY6" fmla="*/ 1025493 h 580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68785" h="5804940">
                <a:moveTo>
                  <a:pt x="0" y="1025493"/>
                </a:moveTo>
                <a:cubicBezTo>
                  <a:pt x="0" y="3841436"/>
                  <a:pt x="0" y="5161410"/>
                  <a:pt x="0" y="5780147"/>
                </a:cubicBezTo>
                <a:lnTo>
                  <a:pt x="0" y="5804940"/>
                </a:lnTo>
                <a:lnTo>
                  <a:pt x="4356105" y="5804940"/>
                </a:lnTo>
                <a:lnTo>
                  <a:pt x="4387147" y="5753960"/>
                </a:lnTo>
                <a:cubicBezTo>
                  <a:pt x="6056693" y="2965876"/>
                  <a:pt x="6215804" y="1252733"/>
                  <a:pt x="4144239" y="0"/>
                </a:cubicBezTo>
                <a:cubicBezTo>
                  <a:pt x="1739338" y="1309612"/>
                  <a:pt x="572384" y="1318491"/>
                  <a:pt x="0" y="1025493"/>
                </a:cubicBezTo>
                <a:close/>
              </a:path>
            </a:pathLst>
          </a:custGeom>
          <a:solidFill>
            <a:schemeClr val="accent4"/>
          </a:solidFill>
          <a:ln>
            <a:noFill/>
          </a:ln>
        </p:spPr>
        <p:txBody>
          <a:bodyPr vert="horz" wrap="square" lIns="68580" tIns="34290" rIns="68580" bIns="34290" numCol="1" anchor="t" anchorCtr="0" compatLnSpc="1">
            <a:prstTxWarp prst="textNoShape">
              <a:avLst/>
            </a:prstTxWarp>
            <a:noAutofit/>
          </a:bodyPr>
          <a:lstStyle/>
          <a:p>
            <a:endParaRPr lang="en-US" sz="1350" dirty="0"/>
          </a:p>
        </p:txBody>
      </p:sp>
    </p:spTree>
    <p:extLst>
      <p:ext uri="{BB962C8B-B14F-4D97-AF65-F5344CB8AC3E}">
        <p14:creationId xmlns:p14="http://schemas.microsoft.com/office/powerpoint/2010/main" val="6120501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30671"/>
          <a:stretch/>
        </p:blipFill>
        <p:spPr>
          <a:xfrm flipH="1">
            <a:off x="2914650" y="812801"/>
            <a:ext cx="6229350" cy="6045199"/>
          </a:xfrm>
          <a:prstGeom prst="rect">
            <a:avLst/>
          </a:prstGeom>
        </p:spPr>
      </p:pic>
      <p:sp>
        <p:nvSpPr>
          <p:cNvPr id="8" name="Picture Placeholder 17">
            <a:extLst>
              <a:ext uri="{FF2B5EF4-FFF2-40B4-BE49-F238E27FC236}">
                <a16:creationId xmlns:a16="http://schemas.microsoft.com/office/drawing/2014/main" id="{EDC88BCB-F476-4BB6-A735-9D28ECF2EBD5}"/>
              </a:ext>
            </a:extLst>
          </p:cNvPr>
          <p:cNvSpPr>
            <a:spLocks noGrp="1"/>
          </p:cNvSpPr>
          <p:nvPr>
            <p:ph type="pic" sz="quarter" idx="10"/>
          </p:nvPr>
        </p:nvSpPr>
        <p:spPr>
          <a:xfrm>
            <a:off x="1" y="-1"/>
            <a:ext cx="5519057" cy="6857998"/>
          </a:xfrm>
          <a:prstGeom prst="rect">
            <a:avLst/>
          </a:prstGeom>
          <a:noFill/>
        </p:spPr>
        <p:txBody>
          <a:bodyPr anchor="ctr"/>
          <a:lstStyle>
            <a:lvl1pPr algn="ctr">
              <a:defRPr/>
            </a:lvl1pPr>
          </a:lstStyle>
          <a:p>
            <a:r>
              <a:rPr lang="en-US"/>
              <a:t>Click icon to add picture</a:t>
            </a:r>
            <a:endParaRPr lang="pt-PT" dirty="0"/>
          </a:p>
        </p:txBody>
      </p:sp>
      <p:sp>
        <p:nvSpPr>
          <p:cNvPr id="9" name="Title Placeholder 1">
            <a:extLst>
              <a:ext uri="{FF2B5EF4-FFF2-40B4-BE49-F238E27FC236}">
                <a16:creationId xmlns:a16="http://schemas.microsoft.com/office/drawing/2014/main" id="{1EA78C13-ABAA-4BAC-9CD6-3FC2F2788217}"/>
              </a:ext>
            </a:extLst>
          </p:cNvPr>
          <p:cNvSpPr>
            <a:spLocks noGrp="1"/>
          </p:cNvSpPr>
          <p:nvPr>
            <p:ph type="title" hasCustomPrompt="1"/>
          </p:nvPr>
        </p:nvSpPr>
        <p:spPr>
          <a:xfrm>
            <a:off x="5731452" y="1917276"/>
            <a:ext cx="3106559" cy="1727749"/>
          </a:xfrm>
          <a:prstGeom prst="rect">
            <a:avLst/>
          </a:prstGeom>
        </p:spPr>
        <p:txBody>
          <a:bodyPr vert="horz" lIns="0" tIns="0" rIns="0" bIns="0" rtlCol="0" anchor="b">
            <a:normAutofit/>
          </a:bodyPr>
          <a:lstStyle>
            <a:lvl1pPr algn="r">
              <a:lnSpc>
                <a:spcPts val="2250"/>
              </a:lnSpc>
              <a:defRPr sz="195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id="{235AC200-82C6-49D0-B50C-8C2A4A3A2B93}"/>
              </a:ext>
            </a:extLst>
          </p:cNvPr>
          <p:cNvSpPr>
            <a:spLocks noGrp="1"/>
          </p:cNvSpPr>
          <p:nvPr>
            <p:ph type="body" sz="quarter" idx="32" hasCustomPrompt="1"/>
          </p:nvPr>
        </p:nvSpPr>
        <p:spPr>
          <a:xfrm>
            <a:off x="5723915" y="3762626"/>
            <a:ext cx="3114096" cy="2186655"/>
          </a:xfrm>
          <a:prstGeom prst="rect">
            <a:avLst/>
          </a:prstGeom>
        </p:spPr>
        <p:txBody>
          <a:bodyPr lIns="0" tIns="0" rIns="0" bIns="0">
            <a:noAutofit/>
          </a:bodyPr>
          <a:lstStyle>
            <a:lvl1pPr algn="r">
              <a:lnSpc>
                <a:spcPct val="100000"/>
              </a:lnSpc>
              <a:defRPr sz="135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4" name="Slide Number Placeholder 3"/>
          <p:cNvSpPr>
            <a:spLocks noGrp="1"/>
          </p:cNvSpPr>
          <p:nvPr>
            <p:ph type="sldNum" sz="quarter" idx="35"/>
          </p:nvPr>
        </p:nvSpPr>
        <p:spPr/>
        <p:txBody>
          <a:bodyPr/>
          <a:lstStyle/>
          <a:p>
            <a:pPr algn="r"/>
            <a:fld id="{DD205EFF-948D-4AF6-B54C-65639188FB5F}" type="slidenum">
              <a:rPr lang="en-US" smtClean="0"/>
              <a:pPr algn="r"/>
              <a:t>‹#›</a:t>
            </a:fld>
            <a:endParaRPr lang="en-US"/>
          </a:p>
        </p:txBody>
      </p:sp>
      <p:sp>
        <p:nvSpPr>
          <p:cNvPr id="5" name="Footer Placeholder 4"/>
          <p:cNvSpPr>
            <a:spLocks noGrp="1"/>
          </p:cNvSpPr>
          <p:nvPr>
            <p:ph type="ftr" sz="quarter" idx="36"/>
          </p:nvPr>
        </p:nvSpPr>
        <p:spPr/>
        <p:txBody>
          <a:bodyPr/>
          <a:lstStyle/>
          <a:p>
            <a:r>
              <a:rPr lang="en-US"/>
              <a:t>Virtualiation (2).pptx</a:t>
            </a:r>
            <a:endParaRPr lang="en-US" dirty="0"/>
          </a:p>
        </p:txBody>
      </p:sp>
      <p:sp>
        <p:nvSpPr>
          <p:cNvPr id="11" name="TextBoxFileName"/>
          <p:cNvSpPr>
            <a:spLocks noGrp="1"/>
          </p:cNvSpPr>
          <p:nvPr>
            <p:ph type="dt" sz="half" idx="2"/>
          </p:nvPr>
        </p:nvSpPr>
        <p:spPr>
          <a:xfrm>
            <a:off x="305992" y="6555971"/>
            <a:ext cx="2121755" cy="219456"/>
          </a:xfrm>
          <a:prstGeom prst="rect">
            <a:avLst/>
          </a:prstGeom>
        </p:spPr>
        <p:txBody>
          <a:bodyPr wrap="square" lIns="0" tIns="0" rIns="0" bIns="0" anchor="ctr" anchorCtr="0">
            <a:noAutofit/>
          </a:bodyPr>
          <a:lstStyle>
            <a:lvl1pPr>
              <a:defRPr lang="de-DE" sz="600" kern="0" smtClean="0">
                <a:solidFill>
                  <a:srgbClr val="00458D"/>
                </a:solidFill>
                <a:latin typeface="+mj-lt"/>
                <a:cs typeface="Arial" panose="020B0604020202020204" pitchFamily="34" charset="0"/>
              </a:defRPr>
            </a:lvl1pPr>
          </a:lstStyle>
          <a:p>
            <a:pPr>
              <a:lnSpc>
                <a:spcPct val="85000"/>
              </a:lnSpc>
            </a:pPr>
            <a:endParaRPr lang="en-US" dirty="0"/>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Right Big Shape and Bullets">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4787504" y="-1"/>
            <a:ext cx="4356496" cy="6857998"/>
          </a:xfrm>
          <a:prstGeom prst="rect">
            <a:avLst/>
          </a:prstGeom>
          <a:noFill/>
        </p:spPr>
        <p:txBody>
          <a:bodyPr anchor="ctr"/>
          <a:lstStyle>
            <a:lvl1pPr algn="ctr">
              <a:defRPr/>
            </a:lvl1pPr>
          </a:lstStyle>
          <a:p>
            <a:r>
              <a:rPr lang="en-US"/>
              <a:t>Click icon to add pictur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8660845" y="188640"/>
            <a:ext cx="318267" cy="459624"/>
          </a:xfrm>
          <a:prstGeom prst="rect">
            <a:avLst/>
          </a:prstGeom>
        </p:spPr>
      </p:pic>
      <p:sp>
        <p:nvSpPr>
          <p:cNvPr id="3" name="Footer Placeholder 2"/>
          <p:cNvSpPr>
            <a:spLocks noGrp="1"/>
          </p:cNvSpPr>
          <p:nvPr>
            <p:ph type="ftr" sz="quarter" idx="39"/>
          </p:nvPr>
        </p:nvSpPr>
        <p:spPr/>
        <p:txBody>
          <a:bodyPr/>
          <a:lstStyle/>
          <a:p>
            <a:r>
              <a:rPr lang="en-US"/>
              <a:t>Virtualiation (2).pptx</a:t>
            </a:r>
          </a:p>
        </p:txBody>
      </p:sp>
      <p:sp>
        <p:nvSpPr>
          <p:cNvPr id="4" name="Slide Number Placeholder 3"/>
          <p:cNvSpPr>
            <a:spLocks noGrp="1"/>
          </p:cNvSpPr>
          <p:nvPr>
            <p:ph type="sldNum" sz="quarter" idx="40"/>
          </p:nvPr>
        </p:nvSpPr>
        <p:spPr/>
        <p:txBody>
          <a:bodyPr/>
          <a:lstStyle/>
          <a:p>
            <a:pPr algn="r"/>
            <a:fld id="{DD205EFF-948D-4AF6-B54C-65639188FB5F}" type="slidenum">
              <a:rPr lang="en-US" smtClean="0"/>
              <a:pPr algn="r"/>
              <a:t>‹#›</a:t>
            </a:fld>
            <a:endParaRPr lang="en-US"/>
          </a:p>
        </p:txBody>
      </p:sp>
      <p:sp>
        <p:nvSpPr>
          <p:cNvPr id="5" name="Title 4"/>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9807898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9144000" cy="6857998"/>
          </a:xfrm>
          <a:prstGeom prst="rect">
            <a:avLst/>
          </a:prstGeom>
          <a:noFill/>
        </p:spPr>
        <p:txBody>
          <a:bodyPr anchor="ctr"/>
          <a:lstStyle>
            <a:lvl1pPr algn="ctr">
              <a:defRPr/>
            </a:lvl1pPr>
          </a:lstStyle>
          <a:p>
            <a:r>
              <a:rPr lang="en-US"/>
              <a:t>Click icon to add picture</a:t>
            </a:r>
            <a:endParaRPr lang="pt-PT" dirty="0"/>
          </a:p>
        </p:txBody>
      </p:sp>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5784409" y="404814"/>
            <a:ext cx="2730029" cy="799873"/>
          </a:xfrm>
          <a:prstGeom prst="rect">
            <a:avLst/>
          </a:prstGeom>
        </p:spPr>
        <p:txBody>
          <a:bodyPr>
            <a:noAutofit/>
          </a:bodyPr>
          <a:lstStyle>
            <a:lvl1pPr algn="r">
              <a:lnSpc>
                <a:spcPts val="1350"/>
              </a:lnSpc>
              <a:defRPr sz="1200" b="1">
                <a:solidFill>
                  <a:schemeClr val="accent3"/>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 name="Footer Placeholder 2"/>
          <p:cNvSpPr>
            <a:spLocks noGrp="1"/>
          </p:cNvSpPr>
          <p:nvPr>
            <p:ph type="ftr" sz="quarter" idx="37"/>
          </p:nvPr>
        </p:nvSpPr>
        <p:spPr/>
        <p:txBody>
          <a:bodyPr/>
          <a:lstStyle/>
          <a:p>
            <a:r>
              <a:rPr lang="en-US"/>
              <a:t>Virtualiation (2).pptx</a:t>
            </a:r>
          </a:p>
        </p:txBody>
      </p:sp>
      <p:sp>
        <p:nvSpPr>
          <p:cNvPr id="4" name="Slide Number Placeholder 3"/>
          <p:cNvSpPr>
            <a:spLocks noGrp="1"/>
          </p:cNvSpPr>
          <p:nvPr>
            <p:ph type="sldNum" sz="quarter" idx="38"/>
          </p:nvPr>
        </p:nvSpPr>
        <p:spPr/>
        <p:txBody>
          <a:bodyPr/>
          <a:lstStyle/>
          <a:p>
            <a:pPr algn="r"/>
            <a:fld id="{DD205EFF-948D-4AF6-B54C-65639188FB5F}" type="slidenum">
              <a:rPr lang="en-US" smtClean="0"/>
              <a:pPr algn="r"/>
              <a:t>‹#›</a:t>
            </a:fld>
            <a:endParaRPr lang="en-US"/>
          </a:p>
        </p:txBody>
      </p:sp>
    </p:spTree>
    <p:extLst>
      <p:ext uri="{BB962C8B-B14F-4D97-AF65-F5344CB8AC3E}">
        <p14:creationId xmlns:p14="http://schemas.microsoft.com/office/powerpoint/2010/main" val="277266364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Only 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4047"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Date Placeholder 3"/>
          <p:cNvSpPr>
            <a:spLocks noGrp="1"/>
          </p:cNvSpPr>
          <p:nvPr>
            <p:ph type="dt" sz="half" idx="10"/>
          </p:nvPr>
        </p:nvSpPr>
        <p:spPr/>
        <p:txBody>
          <a:bodyPr/>
          <a:lstStyle/>
          <a:p>
            <a:pPr defTabSz="918895" eaLnBrk="0" hangingPunct="0">
              <a:lnSpc>
                <a:spcPct val="90000"/>
              </a:lnSpc>
              <a:spcBef>
                <a:spcPct val="10000"/>
              </a:spcBef>
              <a:defRPr/>
            </a:pPr>
            <a:endParaRPr lang="de-DE" dirty="0"/>
          </a:p>
        </p:txBody>
      </p:sp>
      <p:sp>
        <p:nvSpPr>
          <p:cNvPr id="5" name="Slide Number Placeholder 4"/>
          <p:cNvSpPr>
            <a:spLocks noGrp="1"/>
          </p:cNvSpPr>
          <p:nvPr>
            <p:ph type="sldNum" sz="quarter" idx="11"/>
          </p:nvPr>
        </p:nvSpPr>
        <p:spPr/>
        <p:txBody>
          <a:bodyPr/>
          <a:lstStyle/>
          <a:p>
            <a:fld id="{880BADDE-CEDF-4108-ADCD-25C7E5D681A5}" type="slidenum">
              <a:rPr lang="de-DE" smtClean="0"/>
              <a:pPr/>
              <a:t>‹#›</a:t>
            </a:fld>
            <a:endParaRPr lang="de-DE"/>
          </a:p>
        </p:txBody>
      </p:sp>
      <p:sp>
        <p:nvSpPr>
          <p:cNvPr id="6" name="Footer Placeholder 5"/>
          <p:cNvSpPr>
            <a:spLocks noGrp="1"/>
          </p:cNvSpPr>
          <p:nvPr>
            <p:ph type="ftr" sz="quarter" idx="12"/>
          </p:nvPr>
        </p:nvSpPr>
        <p:spPr/>
        <p:txBody>
          <a:bodyPr/>
          <a:lstStyle/>
          <a:p>
            <a:r>
              <a:rPr lang="de-DE"/>
              <a:t>Virtualiation (2).pptx</a:t>
            </a:r>
            <a:endParaRPr lang="de-DE" dirty="0"/>
          </a:p>
        </p:txBody>
      </p:sp>
    </p:spTree>
    <p:extLst>
      <p:ext uri="{BB962C8B-B14F-4D97-AF65-F5344CB8AC3E}">
        <p14:creationId xmlns:p14="http://schemas.microsoft.com/office/powerpoint/2010/main" val="8522147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a16="http://schemas.microsoft.com/office/drawing/2014/main" id="{25D6B527-14EF-4F30-9C9C-691EC4327EE7}"/>
              </a:ext>
            </a:extLst>
          </p:cNvPr>
          <p:cNvSpPr>
            <a:spLocks noGrp="1"/>
          </p:cNvSpPr>
          <p:nvPr>
            <p:ph type="pic" sz="quarter" idx="10"/>
          </p:nvPr>
        </p:nvSpPr>
        <p:spPr>
          <a:xfrm>
            <a:off x="3223732" y="-1588"/>
            <a:ext cx="5920268" cy="6859588"/>
          </a:xfrm>
          <a:solidFill>
            <a:schemeClr val="bg2">
              <a:lumMod val="90000"/>
            </a:schemeClr>
          </a:solidFill>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a16="http://schemas.microsoft.com/office/drawing/2014/main" id="{B83CBA49-BBF9-4CF0-9E0B-FF67BA149660}"/>
              </a:ext>
            </a:extLst>
          </p:cNvPr>
          <p:cNvSpPr>
            <a:spLocks noGrp="1"/>
          </p:cNvSpPr>
          <p:nvPr>
            <p:ph type="body" sz="quarter" idx="11" hasCustomPrompt="1"/>
          </p:nvPr>
        </p:nvSpPr>
        <p:spPr>
          <a:xfrm>
            <a:off x="305991" y="3068960"/>
            <a:ext cx="2753799"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id="{F4C94DDB-5E07-4F17-ABAA-3E9C5E8683A1}"/>
              </a:ext>
            </a:extLst>
          </p:cNvPr>
          <p:cNvSpPr>
            <a:spLocks noGrp="1"/>
          </p:cNvSpPr>
          <p:nvPr>
            <p:ph type="body" sz="quarter" idx="12" hasCustomPrompt="1"/>
          </p:nvPr>
        </p:nvSpPr>
        <p:spPr>
          <a:xfrm>
            <a:off x="305991" y="4040164"/>
            <a:ext cx="2753799"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2627940246"/>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3476" userDrawn="1">
          <p15:clr>
            <a:srgbClr val="FBAE40"/>
          </p15:clr>
        </p15:guide>
        <p15:guide id="3" pos="5414"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 Agenda picture placeholder in form">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2"/>
            </p:custDataLst>
            <p:extLst>
              <p:ext uri="{D42A27DB-BD31-4B8C-83A1-F6EECF244321}">
                <p14:modId xmlns:p14="http://schemas.microsoft.com/office/powerpoint/2010/main" val="3724810054"/>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637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16" name="Picture Placeholder 15"/>
          <p:cNvSpPr>
            <a:spLocks noGrp="1"/>
          </p:cNvSpPr>
          <p:nvPr>
            <p:ph type="pic" sz="quarter" idx="23"/>
          </p:nvPr>
        </p:nvSpPr>
        <p:spPr>
          <a:xfrm>
            <a:off x="1" y="1699130"/>
            <a:ext cx="4638245" cy="5158870"/>
          </a:xfrm>
          <a:custGeom>
            <a:avLst/>
            <a:gdLst>
              <a:gd name="connsiteX0" fmla="*/ 4509914 w 6184327"/>
              <a:gd name="connsiteY0" fmla="*/ 0 h 5158870"/>
              <a:gd name="connsiteX1" fmla="*/ 4528247 w 6184327"/>
              <a:gd name="connsiteY1" fmla="*/ 0 h 5158870"/>
              <a:gd name="connsiteX2" fmla="*/ 4555747 w 6184327"/>
              <a:gd name="connsiteY2" fmla="*/ 18337 h 5158870"/>
              <a:gd name="connsiteX3" fmla="*/ 5270733 w 6184327"/>
              <a:gd name="connsiteY3" fmla="*/ 550116 h 5158870"/>
              <a:gd name="connsiteX4" fmla="*/ 5793223 w 6184327"/>
              <a:gd name="connsiteY4" fmla="*/ 1158301 h 5158870"/>
              <a:gd name="connsiteX5" fmla="*/ 6169049 w 6184327"/>
              <a:gd name="connsiteY5" fmla="*/ 2231028 h 5158870"/>
              <a:gd name="connsiteX6" fmla="*/ 6184327 w 6184327"/>
              <a:gd name="connsiteY6" fmla="*/ 2389951 h 5158870"/>
              <a:gd name="connsiteX7" fmla="*/ 6184327 w 6184327"/>
              <a:gd name="connsiteY7" fmla="*/ 2692515 h 5158870"/>
              <a:gd name="connsiteX8" fmla="*/ 6165994 w 6184327"/>
              <a:gd name="connsiteY8" fmla="*/ 2903393 h 5158870"/>
              <a:gd name="connsiteX9" fmla="*/ 5918498 w 6184327"/>
              <a:gd name="connsiteY9" fmla="*/ 3960839 h 5158870"/>
              <a:gd name="connsiteX10" fmla="*/ 5426563 w 6184327"/>
              <a:gd name="connsiteY10" fmla="*/ 5119140 h 5158870"/>
              <a:gd name="connsiteX11" fmla="*/ 5392953 w 6184327"/>
              <a:gd name="connsiteY11" fmla="*/ 5158870 h 5158870"/>
              <a:gd name="connsiteX12" fmla="*/ 0 w 6184327"/>
              <a:gd name="connsiteY12" fmla="*/ 5158870 h 5158870"/>
              <a:gd name="connsiteX13" fmla="*/ 0 w 6184327"/>
              <a:gd name="connsiteY13" fmla="*/ 1121626 h 5158870"/>
              <a:gd name="connsiteX14" fmla="*/ 30555 w 6184327"/>
              <a:gd name="connsiteY14" fmla="*/ 1130795 h 5158870"/>
              <a:gd name="connsiteX15" fmla="*/ 745542 w 6184327"/>
              <a:gd name="connsiteY15" fmla="*/ 1283605 h 5158870"/>
              <a:gd name="connsiteX16" fmla="*/ 1488027 w 6184327"/>
              <a:gd name="connsiteY16" fmla="*/ 1216369 h 5158870"/>
              <a:gd name="connsiteX17" fmla="*/ 2765225 w 6184327"/>
              <a:gd name="connsiteY17" fmla="*/ 831287 h 5158870"/>
              <a:gd name="connsiteX18" fmla="*/ 4299085 w 6184327"/>
              <a:gd name="connsiteY18" fmla="*/ 116136 h 5158870"/>
              <a:gd name="connsiteX19" fmla="*/ 4509914 w 6184327"/>
              <a:gd name="connsiteY19" fmla="*/ 0 h 5158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84327" h="5158870">
                <a:moveTo>
                  <a:pt x="4509914" y="0"/>
                </a:moveTo>
                <a:cubicBezTo>
                  <a:pt x="4516025" y="0"/>
                  <a:pt x="4522136" y="0"/>
                  <a:pt x="4528247" y="0"/>
                </a:cubicBezTo>
                <a:cubicBezTo>
                  <a:pt x="4537414" y="6112"/>
                  <a:pt x="4546580" y="15281"/>
                  <a:pt x="4555747" y="18337"/>
                </a:cubicBezTo>
                <a:cubicBezTo>
                  <a:pt x="4809353" y="177260"/>
                  <a:pt x="5050737" y="348407"/>
                  <a:pt x="5270733" y="550116"/>
                </a:cubicBezTo>
                <a:cubicBezTo>
                  <a:pt x="5469340" y="733489"/>
                  <a:pt x="5646559" y="932142"/>
                  <a:pt x="5793223" y="1158301"/>
                </a:cubicBezTo>
                <a:cubicBezTo>
                  <a:pt x="6000997" y="1488371"/>
                  <a:pt x="6126272" y="1845946"/>
                  <a:pt x="6169049" y="2231028"/>
                </a:cubicBezTo>
                <a:cubicBezTo>
                  <a:pt x="6172105" y="2282983"/>
                  <a:pt x="6178216" y="2334939"/>
                  <a:pt x="6184327" y="2389951"/>
                </a:cubicBezTo>
                <a:cubicBezTo>
                  <a:pt x="6184327" y="2490805"/>
                  <a:pt x="6184327" y="2591660"/>
                  <a:pt x="6184327" y="2692515"/>
                </a:cubicBezTo>
                <a:cubicBezTo>
                  <a:pt x="6178216" y="2762807"/>
                  <a:pt x="6172105" y="2833100"/>
                  <a:pt x="6165994" y="2903393"/>
                </a:cubicBezTo>
                <a:cubicBezTo>
                  <a:pt x="6123217" y="3267081"/>
                  <a:pt x="6034607" y="3618544"/>
                  <a:pt x="5918498" y="3960839"/>
                </a:cubicBezTo>
                <a:cubicBezTo>
                  <a:pt x="5781001" y="4358145"/>
                  <a:pt x="5612949" y="4743227"/>
                  <a:pt x="5426563" y="5119140"/>
                </a:cubicBezTo>
                <a:cubicBezTo>
                  <a:pt x="5414341" y="5137477"/>
                  <a:pt x="5405175" y="5152758"/>
                  <a:pt x="5392953" y="5158870"/>
                </a:cubicBezTo>
                <a:lnTo>
                  <a:pt x="0" y="5158870"/>
                </a:lnTo>
                <a:lnTo>
                  <a:pt x="0" y="1121626"/>
                </a:lnTo>
                <a:cubicBezTo>
                  <a:pt x="9167" y="1124683"/>
                  <a:pt x="21389" y="1127739"/>
                  <a:pt x="30555" y="1130795"/>
                </a:cubicBezTo>
                <a:cubicBezTo>
                  <a:pt x="256662" y="1237762"/>
                  <a:pt x="498046" y="1277493"/>
                  <a:pt x="745542" y="1283605"/>
                </a:cubicBezTo>
                <a:cubicBezTo>
                  <a:pt x="996092" y="1289718"/>
                  <a:pt x="1243588" y="1262212"/>
                  <a:pt x="1488027" y="1216369"/>
                </a:cubicBezTo>
                <a:cubicBezTo>
                  <a:pt x="1928019" y="1133851"/>
                  <a:pt x="2349677" y="993266"/>
                  <a:pt x="2765225" y="831287"/>
                </a:cubicBezTo>
                <a:cubicBezTo>
                  <a:pt x="3290771" y="626522"/>
                  <a:pt x="3797983" y="382025"/>
                  <a:pt x="4299085" y="116136"/>
                </a:cubicBezTo>
                <a:cubicBezTo>
                  <a:pt x="4369361" y="79461"/>
                  <a:pt x="4442693" y="42787"/>
                  <a:pt x="4509914" y="0"/>
                </a:cubicBezTo>
                <a:close/>
              </a:path>
            </a:pathLst>
          </a:custGeom>
          <a:solidFill>
            <a:schemeClr val="tx2"/>
          </a:solidFill>
          <a:ln>
            <a:noFill/>
          </a:ln>
        </p:spPr>
        <p:txBody>
          <a:bodyPr wrap="square" anchor="ctr">
            <a:noAutofit/>
          </a:bodyPr>
          <a:lstStyle>
            <a:lvl1pPr algn="ctr">
              <a:defRPr/>
            </a:lvl1pPr>
          </a:lstStyle>
          <a:p>
            <a:r>
              <a:rPr lang="en-US"/>
              <a:t>Click icon to add picture</a:t>
            </a:r>
            <a:endParaRPr lang="de-DE" dirty="0"/>
          </a:p>
        </p:txBody>
      </p:sp>
      <p:sp>
        <p:nvSpPr>
          <p:cNvPr id="18" name="Title 17"/>
          <p:cNvSpPr>
            <a:spLocks noGrp="1"/>
          </p:cNvSpPr>
          <p:nvPr>
            <p:ph type="title"/>
          </p:nvPr>
        </p:nvSpPr>
        <p:spPr/>
        <p:txBody>
          <a:bodyPr/>
          <a:lstStyle/>
          <a:p>
            <a:r>
              <a:rPr lang="en-US"/>
              <a:t>Click to edit Master title style</a:t>
            </a:r>
            <a:endParaRPr lang="de-DE"/>
          </a:p>
        </p:txBody>
      </p:sp>
      <p:cxnSp>
        <p:nvCxnSpPr>
          <p:cNvPr id="1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867657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Text Placeholder 20"/>
          <p:cNvSpPr>
            <a:spLocks noGrp="1"/>
          </p:cNvSpPr>
          <p:nvPr>
            <p:ph type="body" sz="quarter" idx="28"/>
          </p:nvPr>
        </p:nvSpPr>
        <p:spPr>
          <a:xfrm>
            <a:off x="4787503" y="1412876"/>
            <a:ext cx="4050506" cy="5040313"/>
          </a:xfrm>
        </p:spPr>
        <p:txBody>
          <a:bodyPr/>
          <a:lstStyle>
            <a:lvl1pPr>
              <a:spcBef>
                <a:spcPts val="900"/>
              </a:spcBef>
              <a:defRPr sz="1200"/>
            </a:lvl1pPr>
            <a:lvl2pPr>
              <a:spcBef>
                <a:spcPts val="900"/>
              </a:spcBef>
              <a:defRPr sz="1200"/>
            </a:lvl2pPr>
            <a:lvl3pPr>
              <a:spcBef>
                <a:spcPts val="600"/>
              </a:spcBef>
              <a:defRPr sz="1200"/>
            </a:lvl3pPr>
            <a:lvl4pPr>
              <a:spcBef>
                <a:spcPts val="600"/>
              </a:spcBef>
              <a:defRPr sz="1050"/>
            </a:lvl4pPr>
            <a:lvl5pPr>
              <a:spcBef>
                <a:spcPts val="600"/>
              </a:spcBef>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4" name="Footer Placeholder 23"/>
          <p:cNvSpPr>
            <a:spLocks noGrp="1"/>
          </p:cNvSpPr>
          <p:nvPr>
            <p:ph type="ftr" sz="quarter" idx="30"/>
          </p:nvPr>
        </p:nvSpPr>
        <p:spPr/>
        <p:txBody>
          <a:bodyPr/>
          <a:lstStyle/>
          <a:p>
            <a:r>
              <a:rPr lang="en-US"/>
              <a:t>Virtualiation (2).pptx</a:t>
            </a:r>
            <a:endParaRPr lang="en-US" dirty="0"/>
          </a:p>
        </p:txBody>
      </p:sp>
      <p:sp>
        <p:nvSpPr>
          <p:cNvPr id="25" name="Slide Number Placeholder 24"/>
          <p:cNvSpPr>
            <a:spLocks noGrp="1"/>
          </p:cNvSpPr>
          <p:nvPr>
            <p:ph type="sldNum" sz="quarter" idx="31"/>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12980958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Agenda picture placeholder in form">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3900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16" name="Picture Placeholder 15"/>
          <p:cNvSpPr>
            <a:spLocks noGrp="1"/>
          </p:cNvSpPr>
          <p:nvPr>
            <p:ph type="pic" sz="quarter" idx="23"/>
          </p:nvPr>
        </p:nvSpPr>
        <p:spPr>
          <a:xfrm>
            <a:off x="1" y="1699130"/>
            <a:ext cx="4638245" cy="5158870"/>
          </a:xfrm>
          <a:custGeom>
            <a:avLst/>
            <a:gdLst>
              <a:gd name="connsiteX0" fmla="*/ 4509914 w 6184327"/>
              <a:gd name="connsiteY0" fmla="*/ 0 h 5158870"/>
              <a:gd name="connsiteX1" fmla="*/ 4528247 w 6184327"/>
              <a:gd name="connsiteY1" fmla="*/ 0 h 5158870"/>
              <a:gd name="connsiteX2" fmla="*/ 4555747 w 6184327"/>
              <a:gd name="connsiteY2" fmla="*/ 18337 h 5158870"/>
              <a:gd name="connsiteX3" fmla="*/ 5270733 w 6184327"/>
              <a:gd name="connsiteY3" fmla="*/ 550116 h 5158870"/>
              <a:gd name="connsiteX4" fmla="*/ 5793223 w 6184327"/>
              <a:gd name="connsiteY4" fmla="*/ 1158301 h 5158870"/>
              <a:gd name="connsiteX5" fmla="*/ 6169049 w 6184327"/>
              <a:gd name="connsiteY5" fmla="*/ 2231028 h 5158870"/>
              <a:gd name="connsiteX6" fmla="*/ 6184327 w 6184327"/>
              <a:gd name="connsiteY6" fmla="*/ 2389951 h 5158870"/>
              <a:gd name="connsiteX7" fmla="*/ 6184327 w 6184327"/>
              <a:gd name="connsiteY7" fmla="*/ 2692515 h 5158870"/>
              <a:gd name="connsiteX8" fmla="*/ 6165994 w 6184327"/>
              <a:gd name="connsiteY8" fmla="*/ 2903393 h 5158870"/>
              <a:gd name="connsiteX9" fmla="*/ 5918498 w 6184327"/>
              <a:gd name="connsiteY9" fmla="*/ 3960839 h 5158870"/>
              <a:gd name="connsiteX10" fmla="*/ 5426563 w 6184327"/>
              <a:gd name="connsiteY10" fmla="*/ 5119140 h 5158870"/>
              <a:gd name="connsiteX11" fmla="*/ 5392953 w 6184327"/>
              <a:gd name="connsiteY11" fmla="*/ 5158870 h 5158870"/>
              <a:gd name="connsiteX12" fmla="*/ 0 w 6184327"/>
              <a:gd name="connsiteY12" fmla="*/ 5158870 h 5158870"/>
              <a:gd name="connsiteX13" fmla="*/ 0 w 6184327"/>
              <a:gd name="connsiteY13" fmla="*/ 1121626 h 5158870"/>
              <a:gd name="connsiteX14" fmla="*/ 30555 w 6184327"/>
              <a:gd name="connsiteY14" fmla="*/ 1130795 h 5158870"/>
              <a:gd name="connsiteX15" fmla="*/ 745542 w 6184327"/>
              <a:gd name="connsiteY15" fmla="*/ 1283605 h 5158870"/>
              <a:gd name="connsiteX16" fmla="*/ 1488027 w 6184327"/>
              <a:gd name="connsiteY16" fmla="*/ 1216369 h 5158870"/>
              <a:gd name="connsiteX17" fmla="*/ 2765225 w 6184327"/>
              <a:gd name="connsiteY17" fmla="*/ 831287 h 5158870"/>
              <a:gd name="connsiteX18" fmla="*/ 4299085 w 6184327"/>
              <a:gd name="connsiteY18" fmla="*/ 116136 h 5158870"/>
              <a:gd name="connsiteX19" fmla="*/ 4509914 w 6184327"/>
              <a:gd name="connsiteY19" fmla="*/ 0 h 5158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84327" h="5158870">
                <a:moveTo>
                  <a:pt x="4509914" y="0"/>
                </a:moveTo>
                <a:cubicBezTo>
                  <a:pt x="4516025" y="0"/>
                  <a:pt x="4522136" y="0"/>
                  <a:pt x="4528247" y="0"/>
                </a:cubicBezTo>
                <a:cubicBezTo>
                  <a:pt x="4537414" y="6112"/>
                  <a:pt x="4546580" y="15281"/>
                  <a:pt x="4555747" y="18337"/>
                </a:cubicBezTo>
                <a:cubicBezTo>
                  <a:pt x="4809353" y="177260"/>
                  <a:pt x="5050737" y="348407"/>
                  <a:pt x="5270733" y="550116"/>
                </a:cubicBezTo>
                <a:cubicBezTo>
                  <a:pt x="5469340" y="733489"/>
                  <a:pt x="5646559" y="932142"/>
                  <a:pt x="5793223" y="1158301"/>
                </a:cubicBezTo>
                <a:cubicBezTo>
                  <a:pt x="6000997" y="1488371"/>
                  <a:pt x="6126272" y="1845946"/>
                  <a:pt x="6169049" y="2231028"/>
                </a:cubicBezTo>
                <a:cubicBezTo>
                  <a:pt x="6172105" y="2282983"/>
                  <a:pt x="6178216" y="2334939"/>
                  <a:pt x="6184327" y="2389951"/>
                </a:cubicBezTo>
                <a:cubicBezTo>
                  <a:pt x="6184327" y="2490805"/>
                  <a:pt x="6184327" y="2591660"/>
                  <a:pt x="6184327" y="2692515"/>
                </a:cubicBezTo>
                <a:cubicBezTo>
                  <a:pt x="6178216" y="2762807"/>
                  <a:pt x="6172105" y="2833100"/>
                  <a:pt x="6165994" y="2903393"/>
                </a:cubicBezTo>
                <a:cubicBezTo>
                  <a:pt x="6123217" y="3267081"/>
                  <a:pt x="6034607" y="3618544"/>
                  <a:pt x="5918498" y="3960839"/>
                </a:cubicBezTo>
                <a:cubicBezTo>
                  <a:pt x="5781001" y="4358145"/>
                  <a:pt x="5612949" y="4743227"/>
                  <a:pt x="5426563" y="5119140"/>
                </a:cubicBezTo>
                <a:cubicBezTo>
                  <a:pt x="5414341" y="5137477"/>
                  <a:pt x="5405175" y="5152758"/>
                  <a:pt x="5392953" y="5158870"/>
                </a:cubicBezTo>
                <a:lnTo>
                  <a:pt x="0" y="5158870"/>
                </a:lnTo>
                <a:lnTo>
                  <a:pt x="0" y="1121626"/>
                </a:lnTo>
                <a:cubicBezTo>
                  <a:pt x="9167" y="1124683"/>
                  <a:pt x="21389" y="1127739"/>
                  <a:pt x="30555" y="1130795"/>
                </a:cubicBezTo>
                <a:cubicBezTo>
                  <a:pt x="256662" y="1237762"/>
                  <a:pt x="498046" y="1277493"/>
                  <a:pt x="745542" y="1283605"/>
                </a:cubicBezTo>
                <a:cubicBezTo>
                  <a:pt x="996092" y="1289718"/>
                  <a:pt x="1243588" y="1262212"/>
                  <a:pt x="1488027" y="1216369"/>
                </a:cubicBezTo>
                <a:cubicBezTo>
                  <a:pt x="1928019" y="1133851"/>
                  <a:pt x="2349677" y="993266"/>
                  <a:pt x="2765225" y="831287"/>
                </a:cubicBezTo>
                <a:cubicBezTo>
                  <a:pt x="3290771" y="626522"/>
                  <a:pt x="3797983" y="382025"/>
                  <a:pt x="4299085" y="116136"/>
                </a:cubicBezTo>
                <a:cubicBezTo>
                  <a:pt x="4369361" y="79461"/>
                  <a:pt x="4442693" y="42787"/>
                  <a:pt x="4509914" y="0"/>
                </a:cubicBezTo>
                <a:close/>
              </a:path>
            </a:pathLst>
          </a:custGeom>
          <a:solidFill>
            <a:schemeClr val="bg2">
              <a:lumMod val="90000"/>
            </a:schemeClr>
          </a:solidFill>
          <a:ln>
            <a:noFill/>
          </a:ln>
        </p:spPr>
        <p:txBody>
          <a:bodyPr wrap="square" anchor="ctr">
            <a:noAutofit/>
          </a:bodyPr>
          <a:lstStyle>
            <a:lvl1pPr algn="ctr">
              <a:defRPr/>
            </a:lvl1pPr>
          </a:lstStyle>
          <a:p>
            <a:r>
              <a:rPr lang="en-US"/>
              <a:t>Click icon to add picture</a:t>
            </a:r>
            <a:endParaRPr lang="de-DE" dirty="0"/>
          </a:p>
        </p:txBody>
      </p:sp>
      <p:sp>
        <p:nvSpPr>
          <p:cNvPr id="18" name="Title 17"/>
          <p:cNvSpPr>
            <a:spLocks noGrp="1"/>
          </p:cNvSpPr>
          <p:nvPr>
            <p:ph type="title"/>
          </p:nvPr>
        </p:nvSpPr>
        <p:spPr/>
        <p:txBody>
          <a:bodyPr/>
          <a:lstStyle/>
          <a:p>
            <a:r>
              <a:rPr lang="en-US"/>
              <a:t>Click to edit Master title style</a:t>
            </a:r>
            <a:endParaRPr lang="de-DE"/>
          </a:p>
        </p:txBody>
      </p:sp>
      <p:cxnSp>
        <p:nvCxnSpPr>
          <p:cNvPr id="1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867657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Text Placeholder 20"/>
          <p:cNvSpPr>
            <a:spLocks noGrp="1"/>
          </p:cNvSpPr>
          <p:nvPr>
            <p:ph type="body" sz="quarter" idx="28"/>
          </p:nvPr>
        </p:nvSpPr>
        <p:spPr>
          <a:xfrm>
            <a:off x="4787503" y="1412876"/>
            <a:ext cx="4050506" cy="5040313"/>
          </a:xfrm>
        </p:spPr>
        <p:txBody>
          <a:bodyPr/>
          <a:lstStyle>
            <a:lvl1pPr>
              <a:spcBef>
                <a:spcPts val="900"/>
              </a:spcBef>
              <a:defRPr sz="1200"/>
            </a:lvl1pPr>
            <a:lvl2pPr>
              <a:spcBef>
                <a:spcPts val="900"/>
              </a:spcBef>
              <a:defRPr sz="1200"/>
            </a:lvl2pPr>
            <a:lvl3pPr>
              <a:spcBef>
                <a:spcPts val="600"/>
              </a:spcBef>
              <a:defRPr sz="1200"/>
            </a:lvl3pPr>
            <a:lvl4pPr>
              <a:spcBef>
                <a:spcPts val="600"/>
              </a:spcBef>
              <a:defRPr sz="1050"/>
            </a:lvl4pPr>
            <a:lvl5pPr>
              <a:spcBef>
                <a:spcPts val="600"/>
              </a:spcBef>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4" name="Footer Placeholder 23"/>
          <p:cNvSpPr>
            <a:spLocks noGrp="1"/>
          </p:cNvSpPr>
          <p:nvPr>
            <p:ph type="ftr" sz="quarter" idx="30"/>
          </p:nvPr>
        </p:nvSpPr>
        <p:spPr/>
        <p:txBody>
          <a:bodyPr/>
          <a:lstStyle/>
          <a:p>
            <a:r>
              <a:rPr lang="en-US"/>
              <a:t>Virtualiation (2).pptx</a:t>
            </a:r>
            <a:endParaRPr lang="en-US" dirty="0"/>
          </a:p>
        </p:txBody>
      </p:sp>
      <p:sp>
        <p:nvSpPr>
          <p:cNvPr id="25" name="Slide Number Placeholder 24"/>
          <p:cNvSpPr>
            <a:spLocks noGrp="1"/>
          </p:cNvSpPr>
          <p:nvPr>
            <p:ph type="sldNum" sz="quarter" idx="31"/>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23191731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0" name="Freeform 5"/>
          <p:cNvSpPr>
            <a:spLocks/>
          </p:cNvSpPr>
          <p:nvPr userDrawn="1"/>
        </p:nvSpPr>
        <p:spPr bwMode="auto">
          <a:xfrm flipH="1">
            <a:off x="6375855" y="3770720"/>
            <a:ext cx="2768145" cy="3087280"/>
          </a:xfrm>
          <a:custGeom>
            <a:avLst/>
            <a:gdLst>
              <a:gd name="T0" fmla="*/ 2024 w 2024"/>
              <a:gd name="T1" fmla="*/ 781 h 1692"/>
              <a:gd name="T2" fmla="*/ 2024 w 2024"/>
              <a:gd name="T3" fmla="*/ 881 h 1692"/>
              <a:gd name="T4" fmla="*/ 2018 w 2024"/>
              <a:gd name="T5" fmla="*/ 950 h 1692"/>
              <a:gd name="T6" fmla="*/ 1937 w 2024"/>
              <a:gd name="T7" fmla="*/ 1296 h 1692"/>
              <a:gd name="T8" fmla="*/ 1776 w 2024"/>
              <a:gd name="T9" fmla="*/ 1675 h 1692"/>
              <a:gd name="T10" fmla="*/ 1747 w 2024"/>
              <a:gd name="T11" fmla="*/ 1692 h 1692"/>
              <a:gd name="T12" fmla="*/ 16 w 2024"/>
              <a:gd name="T13" fmla="*/ 1692 h 1692"/>
              <a:gd name="T14" fmla="*/ 0 w 2024"/>
              <a:gd name="T15" fmla="*/ 1692 h 1692"/>
              <a:gd name="T16" fmla="*/ 0 w 2024"/>
              <a:gd name="T17" fmla="*/ 367 h 1692"/>
              <a:gd name="T18" fmla="*/ 10 w 2024"/>
              <a:gd name="T19" fmla="*/ 370 h 1692"/>
              <a:gd name="T20" fmla="*/ 245 w 2024"/>
              <a:gd name="T21" fmla="*/ 420 h 1692"/>
              <a:gd name="T22" fmla="*/ 487 w 2024"/>
              <a:gd name="T23" fmla="*/ 398 h 1692"/>
              <a:gd name="T24" fmla="*/ 905 w 2024"/>
              <a:gd name="T25" fmla="*/ 272 h 1692"/>
              <a:gd name="T26" fmla="*/ 1407 w 2024"/>
              <a:gd name="T27" fmla="*/ 38 h 1692"/>
              <a:gd name="T28" fmla="*/ 1477 w 2024"/>
              <a:gd name="T29" fmla="*/ 0 h 1692"/>
              <a:gd name="T30" fmla="*/ 1482 w 2024"/>
              <a:gd name="T31" fmla="*/ 0 h 1692"/>
              <a:gd name="T32" fmla="*/ 1491 w 2024"/>
              <a:gd name="T33" fmla="*/ 6 h 1692"/>
              <a:gd name="T34" fmla="*/ 1726 w 2024"/>
              <a:gd name="T35" fmla="*/ 180 h 1692"/>
              <a:gd name="T36" fmla="*/ 1896 w 2024"/>
              <a:gd name="T37" fmla="*/ 379 h 1692"/>
              <a:gd name="T38" fmla="*/ 2019 w 2024"/>
              <a:gd name="T39" fmla="*/ 730 h 1692"/>
              <a:gd name="T40" fmla="*/ 2024 w 2024"/>
              <a:gd name="T41" fmla="*/ 781 h 1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24" h="1692">
                <a:moveTo>
                  <a:pt x="2024" y="781"/>
                </a:moveTo>
                <a:cubicBezTo>
                  <a:pt x="2024" y="815"/>
                  <a:pt x="2024" y="848"/>
                  <a:pt x="2024" y="881"/>
                </a:cubicBezTo>
                <a:cubicBezTo>
                  <a:pt x="2022" y="904"/>
                  <a:pt x="2020" y="927"/>
                  <a:pt x="2018" y="950"/>
                </a:cubicBezTo>
                <a:cubicBezTo>
                  <a:pt x="2005" y="1069"/>
                  <a:pt x="1975" y="1183"/>
                  <a:pt x="1937" y="1296"/>
                </a:cubicBezTo>
                <a:cubicBezTo>
                  <a:pt x="1892" y="1426"/>
                  <a:pt x="1837" y="1552"/>
                  <a:pt x="1776" y="1675"/>
                </a:cubicBezTo>
                <a:cubicBezTo>
                  <a:pt x="1769" y="1688"/>
                  <a:pt x="1762" y="1692"/>
                  <a:pt x="1747" y="1692"/>
                </a:cubicBezTo>
                <a:cubicBezTo>
                  <a:pt x="1170" y="1692"/>
                  <a:pt x="593" y="1692"/>
                  <a:pt x="16" y="1692"/>
                </a:cubicBezTo>
                <a:cubicBezTo>
                  <a:pt x="11" y="1692"/>
                  <a:pt x="5" y="1692"/>
                  <a:pt x="0" y="1692"/>
                </a:cubicBezTo>
                <a:cubicBezTo>
                  <a:pt x="0" y="1250"/>
                  <a:pt x="0" y="808"/>
                  <a:pt x="0" y="367"/>
                </a:cubicBezTo>
                <a:cubicBezTo>
                  <a:pt x="3" y="368"/>
                  <a:pt x="7" y="369"/>
                  <a:pt x="10" y="370"/>
                </a:cubicBezTo>
                <a:cubicBezTo>
                  <a:pt x="84" y="405"/>
                  <a:pt x="163" y="418"/>
                  <a:pt x="245" y="420"/>
                </a:cubicBezTo>
                <a:cubicBezTo>
                  <a:pt x="326" y="422"/>
                  <a:pt x="407" y="413"/>
                  <a:pt x="487" y="398"/>
                </a:cubicBezTo>
                <a:cubicBezTo>
                  <a:pt x="631" y="371"/>
                  <a:pt x="769" y="325"/>
                  <a:pt x="905" y="272"/>
                </a:cubicBezTo>
                <a:cubicBezTo>
                  <a:pt x="1077" y="205"/>
                  <a:pt x="1244" y="125"/>
                  <a:pt x="1407" y="38"/>
                </a:cubicBezTo>
                <a:cubicBezTo>
                  <a:pt x="1430" y="26"/>
                  <a:pt x="1454" y="14"/>
                  <a:pt x="1477" y="0"/>
                </a:cubicBezTo>
                <a:cubicBezTo>
                  <a:pt x="1478" y="0"/>
                  <a:pt x="1480" y="0"/>
                  <a:pt x="1482" y="0"/>
                </a:cubicBezTo>
                <a:cubicBezTo>
                  <a:pt x="1485" y="2"/>
                  <a:pt x="1488" y="4"/>
                  <a:pt x="1491" y="6"/>
                </a:cubicBezTo>
                <a:cubicBezTo>
                  <a:pt x="1574" y="57"/>
                  <a:pt x="1653" y="114"/>
                  <a:pt x="1726" y="180"/>
                </a:cubicBezTo>
                <a:cubicBezTo>
                  <a:pt x="1791" y="239"/>
                  <a:pt x="1848" y="305"/>
                  <a:pt x="1896" y="379"/>
                </a:cubicBezTo>
                <a:cubicBezTo>
                  <a:pt x="1964" y="486"/>
                  <a:pt x="2005" y="603"/>
                  <a:pt x="2019" y="730"/>
                </a:cubicBezTo>
                <a:cubicBezTo>
                  <a:pt x="2020" y="747"/>
                  <a:pt x="2022" y="764"/>
                  <a:pt x="2024" y="781"/>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endParaRPr lang="de-DE" sz="1350"/>
          </a:p>
        </p:txBody>
      </p:sp>
      <p:graphicFrame>
        <p:nvGraphicFramePr>
          <p:cNvPr id="7" name="Object 6" hidden="1"/>
          <p:cNvGraphicFramePr>
            <a:graphicFrameLocks noChangeAspect="1"/>
          </p:cNvGraphicFramePr>
          <p:nvPr>
            <p:custDataLst>
              <p:tags r:id="rId2"/>
            </p:custDataLst>
          </p:nvPr>
        </p:nvGraphicFramePr>
        <p:xfrm>
          <a:off x="0" y="0"/>
          <a:ext cx="146539" cy="158750"/>
        </p:xfrm>
        <a:graphic>
          <a:graphicData uri="http://schemas.openxmlformats.org/presentationml/2006/ole">
            <mc:AlternateContent xmlns:mc="http://schemas.openxmlformats.org/markup-compatibility/2006">
              <mc:Choice xmlns:v="urn:schemas-microsoft-com:vml" Requires="v">
                <p:oleObj spid="_x0000_s41023"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AgendaText"/>
          <p:cNvSpPr>
            <a:spLocks noGrp="1"/>
          </p:cNvSpPr>
          <p:nvPr>
            <p:ph type="body" sz="quarter" idx="13"/>
          </p:nvPr>
        </p:nvSpPr>
        <p:spPr>
          <a:xfrm>
            <a:off x="305991" y="1772817"/>
            <a:ext cx="8532019" cy="280452"/>
          </a:xfrm>
          <a:prstGeom prst="rect">
            <a:avLst/>
          </a:prstGeom>
        </p:spPr>
        <p:txBody>
          <a:bodyPr wrap="square" tIns="72000">
            <a:spAutoFit/>
          </a:bodyPr>
          <a:lstStyle>
            <a:lvl1pPr marL="337500" indent="-270000">
              <a:lnSpc>
                <a:spcPct val="100000"/>
              </a:lnSpc>
              <a:spcBef>
                <a:spcPts val="972"/>
              </a:spcBef>
              <a:buClr>
                <a:schemeClr val="tx2"/>
              </a:buClr>
              <a:buFont typeface="Wingdings" pitchFamily="2" charset="2"/>
              <a:buChar char="§"/>
              <a:defRPr sz="1350"/>
            </a:lvl1pPr>
            <a:lvl2pPr marL="336947" indent="-133350">
              <a:lnSpc>
                <a:spcPct val="100000"/>
              </a:lnSpc>
              <a:spcBef>
                <a:spcPts val="450"/>
              </a:spcBef>
              <a:defRPr sz="1200"/>
            </a:lvl2pPr>
            <a:lvl3pPr marL="539354" indent="-133350">
              <a:lnSpc>
                <a:spcPct val="100000"/>
              </a:lnSpc>
              <a:spcBef>
                <a:spcPts val="450"/>
              </a:spcBef>
              <a:defRPr sz="1200"/>
            </a:lvl3pPr>
            <a:lvl4pPr marL="672704" indent="-133350">
              <a:spcBef>
                <a:spcPts val="450"/>
              </a:spcBef>
              <a:defRPr/>
            </a:lvl4pPr>
            <a:lvl5pPr marL="806054" indent="-133350">
              <a:spcBef>
                <a:spcPts val="450"/>
              </a:spcBef>
              <a:defRPr/>
            </a:lvl5pPr>
          </a:lstStyle>
          <a:p>
            <a:pPr lvl="0"/>
            <a:r>
              <a:rPr lang="en-US"/>
              <a:t>Edit Master text styles</a:t>
            </a:r>
          </a:p>
        </p:txBody>
      </p:sp>
      <p:sp>
        <p:nvSpPr>
          <p:cNvPr id="15" name="Footer Placeholder 6"/>
          <p:cNvSpPr>
            <a:spLocks noGrp="1"/>
          </p:cNvSpPr>
          <p:nvPr>
            <p:ph type="ftr" sz="quarter" idx="16"/>
          </p:nvPr>
        </p:nvSpPr>
        <p:spPr>
          <a:xfrm>
            <a:off x="6993080" y="6555758"/>
            <a:ext cx="1667765" cy="219456"/>
          </a:xfrm>
        </p:spPr>
        <p:txBody>
          <a:bodyPr/>
          <a:lstStyle>
            <a:lvl1pPr>
              <a:defRPr>
                <a:solidFill>
                  <a:schemeClr val="bg1"/>
                </a:solidFill>
              </a:defRPr>
            </a:lvl1pPr>
          </a:lstStyle>
          <a:p>
            <a:r>
              <a:rPr lang="en-US"/>
              <a:t>Virtualiation (2).pptx</a:t>
            </a:r>
            <a:endParaRPr lang="en-US" dirty="0"/>
          </a:p>
        </p:txBody>
      </p:sp>
      <p:sp>
        <p:nvSpPr>
          <p:cNvPr id="16" name="Slide Number Placeholder 8"/>
          <p:cNvSpPr>
            <a:spLocks noGrp="1"/>
          </p:cNvSpPr>
          <p:nvPr>
            <p:ph type="sldNum" sz="quarter" idx="17"/>
          </p:nvPr>
        </p:nvSpPr>
        <p:spPr>
          <a:xfrm>
            <a:off x="8838010" y="6555758"/>
            <a:ext cx="92816" cy="215444"/>
          </a:xfrm>
        </p:spPr>
        <p:txBody>
          <a:bodyPr/>
          <a:lstStyle>
            <a:lvl1pPr>
              <a:defRPr>
                <a:solidFill>
                  <a:schemeClr val="bg1"/>
                </a:solidFill>
              </a:defRPr>
            </a:lvl1pPr>
          </a:lstStyle>
          <a:p>
            <a:fld id="{DD205EFF-948D-4AF6-B54C-65639188FB5F}" type="slidenum">
              <a:rPr lang="en-US" smtClean="0"/>
              <a:pPr/>
              <a:t>‹#›</a:t>
            </a:fld>
            <a:endParaRPr lang="en-US" dirty="0"/>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867657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Title 1"/>
          <p:cNvSpPr>
            <a:spLocks noGrp="1"/>
          </p:cNvSpPr>
          <p:nvPr>
            <p:ph type="title"/>
          </p:nvPr>
        </p:nvSpPr>
        <p:spPr>
          <a:xfrm>
            <a:off x="305991" y="404814"/>
            <a:ext cx="8262453" cy="863601"/>
          </a:xfrm>
        </p:spPr>
        <p:txBody>
          <a:bodyPr/>
          <a:lstStyle/>
          <a:p>
            <a:r>
              <a:rPr lang="en-US"/>
              <a:t>Click to edit Master title style</a:t>
            </a:r>
            <a:endParaRPr lang="de-DE" dirty="0"/>
          </a:p>
        </p:txBody>
      </p:sp>
    </p:spTree>
    <p:extLst>
      <p:ext uri="{BB962C8B-B14F-4D97-AF65-F5344CB8AC3E}">
        <p14:creationId xmlns:p14="http://schemas.microsoft.com/office/powerpoint/2010/main" val="7494510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270444634"/>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2478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11" name="Footer Placeholder 10"/>
          <p:cNvSpPr>
            <a:spLocks noGrp="1"/>
          </p:cNvSpPr>
          <p:nvPr>
            <p:ph type="ftr" sz="quarter" idx="11"/>
          </p:nvPr>
        </p:nvSpPr>
        <p:spPr/>
        <p:txBody>
          <a:bodyPr/>
          <a:lstStyle/>
          <a:p>
            <a:r>
              <a:rPr lang="en-US"/>
              <a:t>Virtualiation (2).pptx</a:t>
            </a:r>
            <a:endParaRPr lang="en-US" dirty="0"/>
          </a:p>
        </p:txBody>
      </p:sp>
      <p:sp>
        <p:nvSpPr>
          <p:cNvPr id="12" name="Slide Number Placeholder 11"/>
          <p:cNvSpPr>
            <a:spLocks noGrp="1"/>
          </p:cNvSpPr>
          <p:nvPr>
            <p:ph type="sldNum" sz="quarter" idx="12"/>
          </p:nvPr>
        </p:nvSpPr>
        <p:spPr/>
        <p:txBody>
          <a:bodyPr/>
          <a:lstStyle/>
          <a:p>
            <a:fld id="{DD205EFF-948D-4AF6-B54C-65639188FB5F}" type="slidenum">
              <a:rPr lang="en-US" smtClean="0"/>
              <a:pPr/>
              <a:t>‹#›</a:t>
            </a:fld>
            <a:endParaRPr lang="en-US" dirty="0"/>
          </a:p>
        </p:txBody>
      </p:sp>
      <p:sp>
        <p:nvSpPr>
          <p:cNvPr id="3" name="Title 2">
            <a:extLst>
              <a:ext uri="{FF2B5EF4-FFF2-40B4-BE49-F238E27FC236}">
                <a16:creationId xmlns:a16="http://schemas.microsoft.com/office/drawing/2014/main" id="{B2A62B79-3E49-4E23-9D78-212B4806EB6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9175662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oleObject" Target="../embeddings/oleObject1.bin"/><Relationship Id="rId50" Type="http://schemas.openxmlformats.org/officeDocument/2006/relationships/image" Target="../media/image3.sv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1.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userDrawn="1">
            <p:custDataLst>
              <p:tags r:id="rId46"/>
            </p:custDataLst>
            <p:extLst>
              <p:ext uri="{D42A27DB-BD31-4B8C-83A1-F6EECF244321}">
                <p14:modId xmlns:p14="http://schemas.microsoft.com/office/powerpoint/2010/main" val="807658185"/>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3356" name="think-cell Slide" r:id="rId47" imgW="270" imgH="270" progId="TCLayout.ActiveDocument.1">
                  <p:embed/>
                </p:oleObj>
              </mc:Choice>
              <mc:Fallback>
                <p:oleObj name="think-cell Slide" r:id="rId47" imgW="270" imgH="270" progId="TCLayout.ActiveDocument.1">
                  <p:embed/>
                  <p:pic>
                    <p:nvPicPr>
                      <p:cNvPr id="0" name=""/>
                      <p:cNvPicPr/>
                      <p:nvPr/>
                    </p:nvPicPr>
                    <p:blipFill>
                      <a:blip r:embed="rId48"/>
                      <a:stretch>
                        <a:fillRect/>
                      </a:stretch>
                    </p:blipFill>
                    <p:spPr>
                      <a:xfrm>
                        <a:off x="1192" y="1589"/>
                        <a:ext cx="1190"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305991" y="404814"/>
            <a:ext cx="8262453" cy="863601"/>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49">
            <a:extLst>
              <a:ext uri="{96DAC541-7B7A-43D3-8B79-37D633B846F1}">
                <asvg:svgBlip xmlns:asvg="http://schemas.microsoft.com/office/drawing/2016/SVG/main" r:embed="rId50"/>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5040313"/>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3"/>
          <p:cNvSpPr>
            <a:spLocks noGrp="1"/>
          </p:cNvSpPr>
          <p:nvPr>
            <p:ph type="ftr" sz="quarter" idx="3"/>
          </p:nvPr>
        </p:nvSpPr>
        <p:spPr>
          <a:xfrm>
            <a:off x="6993080" y="6555758"/>
            <a:ext cx="1667765" cy="219456"/>
          </a:xfrm>
          <a:prstGeom prst="rect">
            <a:avLst/>
          </a:prstGeom>
        </p:spPr>
        <p:txBody>
          <a:bodyPr wrap="none" lIns="0" tIns="0" rIns="0" bIns="0" anchor="ctr">
            <a:noAutofit/>
          </a:bodyPr>
          <a:lstStyle>
            <a:lvl1pPr>
              <a:defRPr lang="de-DE" sz="600">
                <a:solidFill>
                  <a:schemeClr val="bg2">
                    <a:lumMod val="50000"/>
                  </a:schemeClr>
                </a:solidFill>
                <a:cs typeface="Arial" panose="020B0604020202020204" pitchFamily="34" charset="0"/>
              </a:defRPr>
            </a:lvl1pPr>
          </a:lstStyle>
          <a:p>
            <a:r>
              <a:rPr lang="en-US"/>
              <a:t>Virtualiation (2).pptx</a:t>
            </a:r>
            <a:endParaRPr lang="en-US" dirty="0"/>
          </a:p>
        </p:txBody>
      </p:sp>
      <p:sp>
        <p:nvSpPr>
          <p:cNvPr id="29" name="Slide Number Placeholder 28"/>
          <p:cNvSpPr>
            <a:spLocks noGrp="1"/>
          </p:cNvSpPr>
          <p:nvPr>
            <p:ph type="sldNum" sz="quarter" idx="4"/>
          </p:nvPr>
        </p:nvSpPr>
        <p:spPr>
          <a:xfrm>
            <a:off x="8838010" y="6555758"/>
            <a:ext cx="92816" cy="215444"/>
          </a:xfrm>
          <a:prstGeom prst="rect">
            <a:avLst/>
          </a:prstGeom>
        </p:spPr>
        <p:txBody>
          <a:bodyPr wrap="none">
            <a:noAutofit/>
          </a:bodyPr>
          <a:lstStyle>
            <a:lvl1pPr algn="ctr">
              <a:defRPr lang="de-DE" sz="600" smtClean="0">
                <a:solidFill>
                  <a:schemeClr val="bg2">
                    <a:lumMod val="50000"/>
                  </a:schemeClr>
                </a:solidFill>
                <a:cs typeface="Arial" panose="020B0604020202020204" pitchFamily="34" charset="0"/>
              </a:defRPr>
            </a:lvl1pPr>
          </a:lstStyle>
          <a:p>
            <a:fld id="{DD205EFF-948D-4AF6-B54C-65639188FB5F}" type="slidenum">
              <a:rPr lang="en-US" smtClean="0"/>
              <a:pPr/>
              <a:t>‹#›</a:t>
            </a:fld>
            <a:endParaRPr lang="en-US" dirty="0"/>
          </a:p>
        </p:txBody>
      </p:sp>
      <p:cxnSp>
        <p:nvCxnSpPr>
          <p:cNvPr id="3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867657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TextBoxFileName"/>
          <p:cNvSpPr/>
          <p:nvPr userDrawn="1"/>
        </p:nvSpPr>
        <p:spPr>
          <a:xfrm>
            <a:off x="305990" y="6555971"/>
            <a:ext cx="2295000" cy="21945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chorCtr="0"/>
          <a:lstStyle/>
          <a:p>
            <a:pPr algn="l"/>
            <a:r>
              <a:rPr lang="it-IT" sz="600">
                <a:solidFill>
                  <a:schemeClr val="bg1">
                    <a:lumMod val="50000"/>
                  </a:schemeClr>
                </a:solidFill>
              </a:rPr>
              <a:t>Service virtualization.pptx</a:t>
            </a:r>
            <a:endParaRPr lang="de-DE" sz="600" dirty="0">
              <a:solidFill>
                <a:schemeClr val="bg1">
                  <a:lumMod val="50000"/>
                </a:schemeClr>
              </a:solidFill>
            </a:endParaRPr>
          </a:p>
        </p:txBody>
      </p:sp>
      <p:sp>
        <p:nvSpPr>
          <p:cNvPr id="12" name="FootnoteAndSource" hidden="1"/>
          <p:cNvSpPr txBox="1"/>
          <p:nvPr userDrawn="1"/>
        </p:nvSpPr>
        <p:spPr>
          <a:xfrm>
            <a:off x="305526" y="6344654"/>
            <a:ext cx="8532018" cy="121572"/>
          </a:xfrm>
          <a:prstGeom prst="rect">
            <a:avLst/>
          </a:prstGeom>
          <a:noFill/>
        </p:spPr>
        <p:txBody>
          <a:bodyPr vert="horz" wrap="square" lIns="0" tIns="19050" rIns="0" bIns="19050" rtlCol="0" anchor="b" anchorCtr="0">
            <a:spAutoFit/>
          </a:bodyPr>
          <a:lstStyle/>
          <a:p>
            <a:pPr marL="322326" indent="-322326" defTabSz="685800">
              <a:lnSpc>
                <a:spcPct val="90000"/>
              </a:lnSpc>
              <a:tabLst>
                <a:tab pos="260604" algn="r"/>
              </a:tabLst>
            </a:pPr>
            <a:r>
              <a:rPr lang="de-DE" sz="600" dirty="0"/>
              <a:t>	Source:	Source Text</a:t>
            </a:r>
          </a:p>
        </p:txBody>
      </p:sp>
      <p:sp>
        <p:nvSpPr>
          <p:cNvPr id="14" name="CapgeminiBox" hidden="1">
            <a:extLst>
              <a:ext uri="{FF2B5EF4-FFF2-40B4-BE49-F238E27FC236}">
                <a16:creationId xmlns:a16="http://schemas.microsoft.com/office/drawing/2014/main" id="{AF310831-D03E-404B-934F-73B268225B7E}"/>
              </a:ext>
            </a:extLst>
          </p:cNvPr>
          <p:cNvSpPr txBox="1">
            <a:spLocks/>
          </p:cNvSpPr>
          <p:nvPr userDrawn="1"/>
        </p:nvSpPr>
        <p:spPr>
          <a:xfrm>
            <a:off x="43032" y="64721"/>
            <a:ext cx="1542089" cy="161583"/>
          </a:xfrm>
          <a:prstGeom prst="rect">
            <a:avLst/>
          </a:prstGeom>
        </p:spPr>
        <p:txBody>
          <a:bodyPr vert="horz" wrap="non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400" kern="1200">
                <a:solidFill>
                  <a:schemeClr val="tx1"/>
                </a:solidFill>
                <a:latin typeface="+mn-lt"/>
                <a:ea typeface="+mn-ea"/>
                <a:cs typeface="+mn-cs"/>
              </a:defRPr>
            </a:lvl5pPr>
            <a:lvl6pPr marL="1162050" indent="-2667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6pPr>
            <a:lvl7pPr marL="1438275" indent="-276225"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7pPr>
            <a:lvl8pPr marL="1704975" indent="-2667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8pPr>
            <a:lvl9pPr marL="1971675" indent="-2667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9pPr>
          </a:lstStyle>
          <a:p>
            <a:r>
              <a:rPr lang="en-US" sz="1050" dirty="0" err="1"/>
              <a:t>Capgemini</a:t>
            </a:r>
            <a:r>
              <a:rPr lang="en-US" sz="1050" dirty="0"/>
              <a:t> Global V8.0</a:t>
            </a:r>
          </a:p>
        </p:txBody>
      </p:sp>
      <p:grpSp>
        <p:nvGrpSpPr>
          <p:cNvPr id="15" name="Group_Sticker" hidden="1"/>
          <p:cNvGrpSpPr/>
          <p:nvPr userDrawn="1"/>
        </p:nvGrpSpPr>
        <p:grpSpPr>
          <a:xfrm>
            <a:off x="8350894" y="1268414"/>
            <a:ext cx="487314" cy="243681"/>
            <a:chOff x="8418996" y="1611828"/>
            <a:chExt cx="649752" cy="243681"/>
          </a:xfrm>
        </p:grpSpPr>
        <p:sp>
          <p:nvSpPr>
            <p:cNvPr id="16" name="TextBox 15"/>
            <p:cNvSpPr txBox="1"/>
            <p:nvPr/>
          </p:nvSpPr>
          <p:spPr>
            <a:xfrm>
              <a:off x="8418996" y="1636144"/>
              <a:ext cx="649752" cy="207749"/>
            </a:xfrm>
            <a:prstGeom prst="rect">
              <a:avLst/>
            </a:prstGeom>
            <a:noFill/>
          </p:spPr>
          <p:txBody>
            <a:bodyPr vert="horz" wrap="none" lIns="0" rIns="0" rtlCol="0" anchor="ctr">
              <a:spAutoFit/>
            </a:bodyPr>
            <a:lstStyle/>
            <a:p>
              <a:pPr algn="ctr"/>
              <a:r>
                <a:rPr lang="en-GB" sz="750" b="1" dirty="0"/>
                <a:t>BACK-UP</a:t>
              </a:r>
            </a:p>
          </p:txBody>
        </p:sp>
        <p:cxnSp>
          <p:nvCxnSpPr>
            <p:cNvPr id="17" name="Straight Connector 16"/>
            <p:cNvCxnSpPr/>
            <p:nvPr/>
          </p:nvCxnSpPr>
          <p:spPr>
            <a:xfrm>
              <a:off x="8419263" y="1611828"/>
              <a:ext cx="649217"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8419263" y="1855509"/>
              <a:ext cx="649217"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34" r:id="rId1"/>
    <p:sldLayoutId id="2147483790" r:id="rId2"/>
    <p:sldLayoutId id="2147483721" r:id="rId3"/>
    <p:sldLayoutId id="2147483810" r:id="rId4"/>
    <p:sldLayoutId id="2147483720" r:id="rId5"/>
    <p:sldLayoutId id="2147483817" r:id="rId6"/>
    <p:sldLayoutId id="2147483831" r:id="rId7"/>
    <p:sldLayoutId id="2147483835" r:id="rId8"/>
    <p:sldLayoutId id="2147483813" r:id="rId9"/>
    <p:sldLayoutId id="2147483816" r:id="rId10"/>
    <p:sldLayoutId id="2147483814" r:id="rId11"/>
    <p:sldLayoutId id="2147483815" r:id="rId12"/>
    <p:sldLayoutId id="2147483734" r:id="rId13"/>
    <p:sldLayoutId id="2147483735" r:id="rId14"/>
    <p:sldLayoutId id="2147483827" r:id="rId15"/>
    <p:sldLayoutId id="2147483829" r:id="rId16"/>
    <p:sldLayoutId id="2147483798" r:id="rId17"/>
    <p:sldLayoutId id="2147483672" r:id="rId18"/>
    <p:sldLayoutId id="2147483838" r:id="rId19"/>
    <p:sldLayoutId id="2147483811" r:id="rId20"/>
    <p:sldLayoutId id="2147483666" r:id="rId21"/>
    <p:sldLayoutId id="2147483832" r:id="rId22"/>
    <p:sldLayoutId id="2147483837" r:id="rId23"/>
    <p:sldLayoutId id="2147483786" r:id="rId24"/>
    <p:sldLayoutId id="2147483779" r:id="rId25"/>
    <p:sldLayoutId id="2147483722" r:id="rId26"/>
    <p:sldLayoutId id="2147483733" r:id="rId27"/>
    <p:sldLayoutId id="2147483791" r:id="rId28"/>
    <p:sldLayoutId id="2147483731" r:id="rId29"/>
    <p:sldLayoutId id="2147483795" r:id="rId30"/>
    <p:sldLayoutId id="2147483732" r:id="rId31"/>
    <p:sldLayoutId id="2147483836" r:id="rId32"/>
    <p:sldLayoutId id="2147483739" r:id="rId33"/>
    <p:sldLayoutId id="2147483740" r:id="rId34"/>
    <p:sldLayoutId id="2147483794" r:id="rId35"/>
    <p:sldLayoutId id="2147483792" r:id="rId36"/>
    <p:sldLayoutId id="2147483796" r:id="rId37"/>
    <p:sldLayoutId id="2147483743" r:id="rId38"/>
    <p:sldLayoutId id="2147483812" r:id="rId39"/>
    <p:sldLayoutId id="2147483744" r:id="rId40"/>
    <p:sldLayoutId id="2147483746" r:id="rId41"/>
    <p:sldLayoutId id="2147483747" r:id="rId42"/>
    <p:sldLayoutId id="2147483839" r:id="rId43"/>
  </p:sldLayoutIdLst>
  <p:hf sldNum="0" hdr="0" ftr="0" dt="0"/>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00000"/>
        </a:lnSpc>
        <a:spcBef>
          <a:spcPts val="450"/>
        </a:spcBef>
        <a:spcAft>
          <a:spcPts val="0"/>
        </a:spcAft>
        <a:buFont typeface="Arial" panose="020B0604020202020204" pitchFamily="34" charset="0"/>
        <a:buNone/>
        <a:defRPr sz="1050" kern="1200">
          <a:solidFill>
            <a:schemeClr val="tx1"/>
          </a:solidFill>
          <a:latin typeface="+mn-lt"/>
          <a:ea typeface="+mn-ea"/>
          <a:cs typeface="+mn-cs"/>
        </a:defRPr>
      </a:lvl1pPr>
      <a:lvl2pPr marL="175022" indent="-171450" algn="l" defTabSz="685800" rtl="0" eaLnBrk="1" latinLnBrk="0" hangingPunct="1">
        <a:lnSpc>
          <a:spcPct val="100000"/>
        </a:lnSpc>
        <a:spcBef>
          <a:spcPts val="450"/>
        </a:spcBef>
        <a:spcAft>
          <a:spcPts val="0"/>
        </a:spcAft>
        <a:buClr>
          <a:schemeClr val="tx2"/>
        </a:buClr>
        <a:buFont typeface="Wingdings" panose="05000000000000000000" pitchFamily="2" charset="2"/>
        <a:buChar char="§"/>
        <a:defRPr sz="1050" kern="1200">
          <a:solidFill>
            <a:schemeClr val="tx1"/>
          </a:solidFill>
          <a:latin typeface="+mn-lt"/>
          <a:ea typeface="+mn-ea"/>
          <a:cs typeface="+mn-cs"/>
        </a:defRPr>
      </a:lvl2pPr>
      <a:lvl3pPr marL="342900" indent="-167879" algn="l" defTabSz="685800" rtl="0" eaLnBrk="1" latinLnBrk="0" hangingPunct="1">
        <a:lnSpc>
          <a:spcPct val="100000"/>
        </a:lnSpc>
        <a:spcBef>
          <a:spcPts val="450"/>
        </a:spcBef>
        <a:spcAft>
          <a:spcPts val="0"/>
        </a:spcAft>
        <a:buClr>
          <a:schemeClr val="tx2"/>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100000"/>
        </a:lnSpc>
        <a:spcBef>
          <a:spcPts val="450"/>
        </a:spcBef>
        <a:spcAft>
          <a:spcPts val="0"/>
        </a:spcAft>
        <a:buClr>
          <a:schemeClr val="tx2"/>
        </a:buClr>
        <a:buFont typeface="Arial" panose="020B0604020202020204" pitchFamily="34" charset="0"/>
        <a:buChar char="‒"/>
        <a:defRPr sz="900" kern="1200" baseline="0">
          <a:solidFill>
            <a:schemeClr val="tx1"/>
          </a:solidFill>
          <a:latin typeface="+mn-lt"/>
          <a:ea typeface="+mn-ea"/>
          <a:cs typeface="+mn-cs"/>
        </a:defRPr>
      </a:lvl4pPr>
      <a:lvl5pPr marL="672704" indent="-134541" algn="l" defTabSz="685800" rtl="0" eaLnBrk="1" latinLnBrk="0" hangingPunct="1">
        <a:lnSpc>
          <a:spcPct val="100000"/>
        </a:lnSpc>
        <a:spcBef>
          <a:spcPts val="450"/>
        </a:spcBef>
        <a:buClr>
          <a:schemeClr val="tx2"/>
        </a:buClr>
        <a:buFont typeface="Arial" panose="020B0604020202020204" pitchFamily="34" charset="0"/>
        <a:buChar char="•"/>
        <a:defRPr sz="9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2" pos="5567" userDrawn="1">
          <p15:clr>
            <a:srgbClr val="F26B43"/>
          </p15:clr>
        </p15:guide>
        <p15:guide id="3" pos="19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2880" userDrawn="1">
          <p15:clr>
            <a:srgbClr val="F26B43"/>
          </p15:clr>
        </p15:guide>
        <p15:guide id="8" pos="2744" userDrawn="1">
          <p15:clr>
            <a:srgbClr val="F26B43"/>
          </p15:clr>
        </p15:guide>
        <p15:guide id="9" pos="301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diagramLayout" Target="../diagrams/layout1.xml"/><Relationship Id="rId7" Type="http://schemas.openxmlformats.org/officeDocument/2006/relationships/image" Target="../media/image26.png"/><Relationship Id="rId12" Type="http://schemas.openxmlformats.org/officeDocument/2006/relationships/image" Target="../media/image30.png"/><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11" Type="http://schemas.openxmlformats.org/officeDocument/2006/relationships/image" Target="../media/image29.png"/><Relationship Id="rId5" Type="http://schemas.openxmlformats.org/officeDocument/2006/relationships/diagramColors" Target="../diagrams/colors1.xml"/><Relationship Id="rId10" Type="http://schemas.openxmlformats.org/officeDocument/2006/relationships/hyperlink" Target="https://martinfowler.com/bliki/TestPyramid.html" TargetMode="External"/><Relationship Id="rId4" Type="http://schemas.openxmlformats.org/officeDocument/2006/relationships/diagramQuickStyle" Target="../diagrams/quickStyle1.xml"/><Relationship Id="rId9" Type="http://schemas.openxmlformats.org/officeDocument/2006/relationships/image" Target="../media/image28.png"/></Relationships>
</file>

<file path=ppt/slides/_rels/slide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image" Target="../media/image32.png"/><Relationship Id="rId1" Type="http://schemas.openxmlformats.org/officeDocument/2006/relationships/slideLayout" Target="../slideLayouts/slideLayout19.xml"/><Relationship Id="rId6" Type="http://schemas.openxmlformats.org/officeDocument/2006/relationships/image" Target="../media/image36.png"/><Relationship Id="rId5" Type="http://schemas.openxmlformats.org/officeDocument/2006/relationships/image" Target="../media/image35.svg"/><Relationship Id="rId10" Type="http://schemas.openxmlformats.org/officeDocument/2006/relationships/image" Target="../media/image40.jpeg"/><Relationship Id="rId4" Type="http://schemas.openxmlformats.org/officeDocument/2006/relationships/image" Target="../media/image34.png"/><Relationship Id="rId9" Type="http://schemas.openxmlformats.org/officeDocument/2006/relationships/image" Target="../media/image3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9182555-8591-464F-96F7-219691D1F317}"/>
              </a:ext>
            </a:extLst>
          </p:cNvPr>
          <p:cNvSpPr>
            <a:spLocks noGrp="1"/>
          </p:cNvSpPr>
          <p:nvPr>
            <p:ph type="title"/>
          </p:nvPr>
        </p:nvSpPr>
        <p:spPr/>
        <p:txBody>
          <a:bodyPr/>
          <a:lstStyle/>
          <a:p>
            <a:r>
              <a:rPr lang="pl-PL" dirty="0"/>
              <a:t>Test </a:t>
            </a:r>
            <a:r>
              <a:rPr lang="pl-PL" dirty="0" err="1"/>
              <a:t>pyramid</a:t>
            </a:r>
            <a:endParaRPr lang="pl-PL" dirty="0"/>
          </a:p>
        </p:txBody>
      </p:sp>
      <p:pic>
        <p:nvPicPr>
          <p:cNvPr id="3" name="Picture 2">
            <a:extLst>
              <a:ext uri="{FF2B5EF4-FFF2-40B4-BE49-F238E27FC236}">
                <a16:creationId xmlns:a16="http://schemas.microsoft.com/office/drawing/2014/main" id="{A1F08423-2A08-4201-BA19-21F06CB9AE6F}"/>
              </a:ext>
            </a:extLst>
          </p:cNvPr>
          <p:cNvPicPr>
            <a:picLocks noChangeAspect="1"/>
          </p:cNvPicPr>
          <p:nvPr/>
        </p:nvPicPr>
        <p:blipFill>
          <a:blip r:embed="rId2"/>
          <a:stretch>
            <a:fillRect/>
          </a:stretch>
        </p:blipFill>
        <p:spPr>
          <a:xfrm>
            <a:off x="0" y="0"/>
            <a:ext cx="9144000" cy="6858000"/>
          </a:xfrm>
          <a:prstGeom prst="rect">
            <a:avLst/>
          </a:prstGeom>
        </p:spPr>
      </p:pic>
    </p:spTree>
    <p:extLst>
      <p:ext uri="{BB962C8B-B14F-4D97-AF65-F5344CB8AC3E}">
        <p14:creationId xmlns:p14="http://schemas.microsoft.com/office/powerpoint/2010/main" val="30969103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26793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BFA47-6789-42E4-ADE9-3DA932DFD40A}"/>
              </a:ext>
            </a:extLst>
          </p:cNvPr>
          <p:cNvSpPr>
            <a:spLocks noGrp="1"/>
          </p:cNvSpPr>
          <p:nvPr>
            <p:ph type="ctrTitle"/>
          </p:nvPr>
        </p:nvSpPr>
        <p:spPr>
          <a:xfrm>
            <a:off x="305991" y="2161603"/>
            <a:ext cx="5292123" cy="1106366"/>
          </a:xfrm>
        </p:spPr>
        <p:txBody>
          <a:bodyPr/>
          <a:lstStyle/>
          <a:p>
            <a:r>
              <a:rPr lang="pl-PL" dirty="0"/>
              <a:t>Service </a:t>
            </a:r>
            <a:r>
              <a:rPr lang="en-US" dirty="0"/>
              <a:t>virtualization</a:t>
            </a:r>
            <a:br>
              <a:rPr lang="en-US" dirty="0"/>
            </a:br>
            <a:br>
              <a:rPr lang="pl-PL" dirty="0"/>
            </a:br>
            <a:r>
              <a:rPr lang="en-US" dirty="0"/>
              <a:t>Success depends on proper approach</a:t>
            </a:r>
          </a:p>
        </p:txBody>
      </p:sp>
      <p:sp>
        <p:nvSpPr>
          <p:cNvPr id="3" name="Subtitle 2">
            <a:extLst>
              <a:ext uri="{FF2B5EF4-FFF2-40B4-BE49-F238E27FC236}">
                <a16:creationId xmlns:a16="http://schemas.microsoft.com/office/drawing/2014/main" id="{8D6A15B9-ACFF-4EF7-B1BD-6ECDF096312E}"/>
              </a:ext>
            </a:extLst>
          </p:cNvPr>
          <p:cNvSpPr>
            <a:spLocks noGrp="1"/>
          </p:cNvSpPr>
          <p:nvPr>
            <p:ph type="subTitle" idx="1"/>
          </p:nvPr>
        </p:nvSpPr>
        <p:spPr>
          <a:xfrm>
            <a:off x="305991" y="3519140"/>
            <a:ext cx="3580693" cy="917972"/>
          </a:xfrm>
        </p:spPr>
        <p:txBody>
          <a:bodyPr/>
          <a:lstStyle/>
          <a:p>
            <a:r>
              <a:rPr lang="pl-PL" dirty="0"/>
              <a:t>Lukasz Stefaniszyn</a:t>
            </a:r>
          </a:p>
          <a:p>
            <a:r>
              <a:rPr lang="pl-PL" dirty="0"/>
              <a:t>Solution Architect</a:t>
            </a:r>
          </a:p>
        </p:txBody>
      </p:sp>
    </p:spTree>
    <p:extLst>
      <p:ext uri="{BB962C8B-B14F-4D97-AF65-F5344CB8AC3E}">
        <p14:creationId xmlns:p14="http://schemas.microsoft.com/office/powerpoint/2010/main" val="31149314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1" name="Straight Connector 50">
            <a:extLst>
              <a:ext uri="{FF2B5EF4-FFF2-40B4-BE49-F238E27FC236}">
                <a16:creationId xmlns:a16="http://schemas.microsoft.com/office/drawing/2014/main" id="{88D616A1-0005-42FD-A6D2-A5BF9B89F9F1}"/>
              </a:ext>
            </a:extLst>
          </p:cNvPr>
          <p:cNvCxnSpPr>
            <a:cxnSpLocks/>
          </p:cNvCxnSpPr>
          <p:nvPr/>
        </p:nvCxnSpPr>
        <p:spPr>
          <a:xfrm flipH="1">
            <a:off x="4463988" y="5344377"/>
            <a:ext cx="1970987"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7CA2AA1-26D7-44B5-974F-D53CFE08E75F}"/>
              </a:ext>
            </a:extLst>
          </p:cNvPr>
          <p:cNvCxnSpPr>
            <a:cxnSpLocks/>
          </p:cNvCxnSpPr>
          <p:nvPr/>
        </p:nvCxnSpPr>
        <p:spPr>
          <a:xfrm flipH="1">
            <a:off x="4437217" y="3753036"/>
            <a:ext cx="1970987"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E9182555-8591-464F-96F7-219691D1F317}"/>
              </a:ext>
            </a:extLst>
          </p:cNvPr>
          <p:cNvSpPr>
            <a:spLocks noGrp="1"/>
          </p:cNvSpPr>
          <p:nvPr>
            <p:ph type="title"/>
          </p:nvPr>
        </p:nvSpPr>
        <p:spPr/>
        <p:txBody>
          <a:bodyPr/>
          <a:lstStyle/>
          <a:p>
            <a:r>
              <a:rPr lang="pl-PL" dirty="0"/>
              <a:t>Test </a:t>
            </a:r>
            <a:r>
              <a:rPr lang="pl-PL" dirty="0" err="1"/>
              <a:t>pyramid</a:t>
            </a:r>
            <a:endParaRPr lang="pl-PL" dirty="0"/>
          </a:p>
        </p:txBody>
      </p:sp>
      <p:graphicFrame>
        <p:nvGraphicFramePr>
          <p:cNvPr id="10" name="Diagram 9">
            <a:extLst>
              <a:ext uri="{FF2B5EF4-FFF2-40B4-BE49-F238E27FC236}">
                <a16:creationId xmlns:a16="http://schemas.microsoft.com/office/drawing/2014/main" id="{DF8B36AC-1F99-4BAD-A9FF-D628D3F0B610}"/>
              </a:ext>
            </a:extLst>
          </p:cNvPr>
          <p:cNvGraphicFramePr/>
          <p:nvPr>
            <p:extLst>
              <p:ext uri="{D42A27DB-BD31-4B8C-83A1-F6EECF244321}">
                <p14:modId xmlns:p14="http://schemas.microsoft.com/office/powerpoint/2010/main" val="1824829511"/>
              </p:ext>
            </p:extLst>
          </p:nvPr>
        </p:nvGraphicFramePr>
        <p:xfrm>
          <a:off x="2195736" y="2186862"/>
          <a:ext cx="3240360" cy="31661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12" name="Straight Arrow Connector 11">
            <a:extLst>
              <a:ext uri="{FF2B5EF4-FFF2-40B4-BE49-F238E27FC236}">
                <a16:creationId xmlns:a16="http://schemas.microsoft.com/office/drawing/2014/main" id="{E6C4124C-350C-497F-A9AE-CDF27F893B25}"/>
              </a:ext>
            </a:extLst>
          </p:cNvPr>
          <p:cNvCxnSpPr>
            <a:cxnSpLocks/>
          </p:cNvCxnSpPr>
          <p:nvPr/>
        </p:nvCxnSpPr>
        <p:spPr>
          <a:xfrm>
            <a:off x="1110581" y="2186862"/>
            <a:ext cx="1" cy="3166126"/>
          </a:xfrm>
          <a:prstGeom prst="straightConnector1">
            <a:avLst/>
          </a:prstGeom>
          <a:ln w="9525">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7" name="Graphic 16" descr="Turtle">
            <a:extLst>
              <a:ext uri="{FF2B5EF4-FFF2-40B4-BE49-F238E27FC236}">
                <a16:creationId xmlns:a16="http://schemas.microsoft.com/office/drawing/2014/main" id="{75545444-88B6-44D3-8A97-04B174E1A8D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98594" y="2078850"/>
            <a:ext cx="685800" cy="685800"/>
          </a:xfrm>
          <a:prstGeom prst="rect">
            <a:avLst/>
          </a:prstGeom>
        </p:spPr>
      </p:pic>
      <p:pic>
        <p:nvPicPr>
          <p:cNvPr id="44034" name="Picture 2" descr="Znalezione obrazy dla zapytania icon rabbit">
            <a:extLst>
              <a:ext uri="{FF2B5EF4-FFF2-40B4-BE49-F238E27FC236}">
                <a16:creationId xmlns:a16="http://schemas.microsoft.com/office/drawing/2014/main" id="{A379B6A6-3E4D-49DE-8DC7-51772158340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97670" y="4894091"/>
            <a:ext cx="647762" cy="647762"/>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7BA70D83-E866-4A1F-80A9-484465B9A290}"/>
              </a:ext>
            </a:extLst>
          </p:cNvPr>
          <p:cNvSpPr txBox="1"/>
          <p:nvPr/>
        </p:nvSpPr>
        <p:spPr>
          <a:xfrm>
            <a:off x="1660122" y="5509323"/>
            <a:ext cx="4618572" cy="253916"/>
          </a:xfrm>
          <a:prstGeom prst="rect">
            <a:avLst/>
          </a:prstGeom>
          <a:noFill/>
        </p:spPr>
        <p:txBody>
          <a:bodyPr wrap="none" rtlCol="0">
            <a:spAutoFit/>
          </a:bodyPr>
          <a:lstStyle/>
          <a:p>
            <a:r>
              <a:rPr lang="pl-PL" sz="1050" dirty="0"/>
              <a:t>Martin </a:t>
            </a:r>
            <a:r>
              <a:rPr lang="pl-PL" sz="1050" dirty="0" err="1"/>
              <a:t>Folwer</a:t>
            </a:r>
            <a:r>
              <a:rPr lang="pl-PL" sz="1050" dirty="0"/>
              <a:t> - </a:t>
            </a:r>
            <a:r>
              <a:rPr lang="pl-PL" sz="1050" dirty="0">
                <a:hlinkClick r:id="rId10"/>
              </a:rPr>
              <a:t>https://martinfowler.com/bliki/TestPyramid.html</a:t>
            </a:r>
            <a:r>
              <a:rPr lang="pl-PL" sz="1050" dirty="0"/>
              <a:t> </a:t>
            </a:r>
          </a:p>
        </p:txBody>
      </p:sp>
      <p:grpSp>
        <p:nvGrpSpPr>
          <p:cNvPr id="29" name="Group 28">
            <a:extLst>
              <a:ext uri="{FF2B5EF4-FFF2-40B4-BE49-F238E27FC236}">
                <a16:creationId xmlns:a16="http://schemas.microsoft.com/office/drawing/2014/main" id="{5195C88B-B3E5-4583-82EF-A5E0C9ED4634}"/>
              </a:ext>
            </a:extLst>
          </p:cNvPr>
          <p:cNvGrpSpPr/>
          <p:nvPr/>
        </p:nvGrpSpPr>
        <p:grpSpPr>
          <a:xfrm>
            <a:off x="6732240" y="2078850"/>
            <a:ext cx="1620180" cy="3564396"/>
            <a:chOff x="7968208" y="1628800"/>
            <a:chExt cx="2160240" cy="4752528"/>
          </a:xfrm>
        </p:grpSpPr>
        <p:cxnSp>
          <p:nvCxnSpPr>
            <p:cNvPr id="13" name="Straight Arrow Connector 12">
              <a:extLst>
                <a:ext uri="{FF2B5EF4-FFF2-40B4-BE49-F238E27FC236}">
                  <a16:creationId xmlns:a16="http://schemas.microsoft.com/office/drawing/2014/main" id="{D06660B5-E785-4F39-8E6A-E4DD402442A7}"/>
                </a:ext>
              </a:extLst>
            </p:cNvPr>
            <p:cNvCxnSpPr>
              <a:cxnSpLocks/>
            </p:cNvCxnSpPr>
            <p:nvPr/>
          </p:nvCxnSpPr>
          <p:spPr>
            <a:xfrm flipH="1">
              <a:off x="8112224" y="1772816"/>
              <a:ext cx="72008" cy="4221501"/>
            </a:xfrm>
            <a:prstGeom prst="straightConnector1">
              <a:avLst/>
            </a:prstGeom>
            <a:ln w="9525">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44036" name="Picture 4" descr="Podobny obraz">
              <a:extLst>
                <a:ext uri="{FF2B5EF4-FFF2-40B4-BE49-F238E27FC236}">
                  <a16:creationId xmlns:a16="http://schemas.microsoft.com/office/drawing/2014/main" id="{5A2C7189-9C46-45EF-879B-8F5E641A9B6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968208" y="5288808"/>
              <a:ext cx="1092520" cy="1092520"/>
            </a:xfrm>
            <a:prstGeom prst="rect">
              <a:avLst/>
            </a:prstGeom>
            <a:noFill/>
            <a:extLst>
              <a:ext uri="{909E8E84-426E-40DD-AFC4-6F175D3DCCD1}">
                <a14:hiddenFill xmlns:a14="http://schemas.microsoft.com/office/drawing/2010/main">
                  <a:solidFill>
                    <a:srgbClr val="FFFFFF"/>
                  </a:solidFill>
                </a14:hiddenFill>
              </a:ext>
            </a:extLst>
          </p:spPr>
        </p:pic>
        <p:pic>
          <p:nvPicPr>
            <p:cNvPr id="44038" name="Picture 6" descr="Znalezione obrazy dla zapytania icon dollar">
              <a:extLst>
                <a:ext uri="{FF2B5EF4-FFF2-40B4-BE49-F238E27FC236}">
                  <a16:creationId xmlns:a16="http://schemas.microsoft.com/office/drawing/2014/main" id="{026DCED6-9C36-4374-A61F-BC9D622CE66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197456" y="1628801"/>
              <a:ext cx="778864" cy="778864"/>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6" descr="Znalezione obrazy dla zapytania icon dollar">
              <a:extLst>
                <a:ext uri="{FF2B5EF4-FFF2-40B4-BE49-F238E27FC236}">
                  <a16:creationId xmlns:a16="http://schemas.microsoft.com/office/drawing/2014/main" id="{C2166E9A-355C-47FC-B723-508000098F8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773520" y="1642024"/>
              <a:ext cx="778864" cy="778864"/>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6" descr="Znalezione obrazy dla zapytania icon dollar">
              <a:extLst>
                <a:ext uri="{FF2B5EF4-FFF2-40B4-BE49-F238E27FC236}">
                  <a16:creationId xmlns:a16="http://schemas.microsoft.com/office/drawing/2014/main" id="{3A37EB53-FA07-42B0-8AB6-9BC74351E0A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349584" y="1628800"/>
              <a:ext cx="778864" cy="778864"/>
            </a:xfrm>
            <a:prstGeom prst="rect">
              <a:avLst/>
            </a:prstGeom>
            <a:noFill/>
            <a:extLst>
              <a:ext uri="{909E8E84-426E-40DD-AFC4-6F175D3DCCD1}">
                <a14:hiddenFill xmlns:a14="http://schemas.microsoft.com/office/drawing/2010/main">
                  <a:solidFill>
                    <a:srgbClr val="FFFFFF"/>
                  </a:solidFill>
                </a14:hiddenFill>
              </a:ext>
            </a:extLst>
          </p:spPr>
        </p:pic>
      </p:grpSp>
      <p:sp>
        <p:nvSpPr>
          <p:cNvPr id="44039" name="TextBox 44038">
            <a:extLst>
              <a:ext uri="{FF2B5EF4-FFF2-40B4-BE49-F238E27FC236}">
                <a16:creationId xmlns:a16="http://schemas.microsoft.com/office/drawing/2014/main" id="{E14BBEEE-95F8-4953-B8FA-E06BF350C790}"/>
              </a:ext>
            </a:extLst>
          </p:cNvPr>
          <p:cNvSpPr txBox="1"/>
          <p:nvPr/>
        </p:nvSpPr>
        <p:spPr>
          <a:xfrm>
            <a:off x="5112060" y="4107501"/>
            <a:ext cx="1622880" cy="577081"/>
          </a:xfrm>
          <a:prstGeom prst="rect">
            <a:avLst/>
          </a:prstGeom>
          <a:noFill/>
        </p:spPr>
        <p:txBody>
          <a:bodyPr wrap="none" rtlCol="0">
            <a:spAutoFit/>
          </a:bodyPr>
          <a:lstStyle/>
          <a:p>
            <a:r>
              <a:rPr lang="pl-PL" sz="1050" dirty="0"/>
              <a:t>White-</a:t>
            </a:r>
            <a:r>
              <a:rPr lang="pl-PL" sz="1050" dirty="0" err="1"/>
              <a:t>box</a:t>
            </a:r>
            <a:r>
              <a:rPr lang="pl-PL" sz="1050" dirty="0"/>
              <a:t> </a:t>
            </a:r>
            <a:r>
              <a:rPr lang="pl-PL" sz="1050" dirty="0" err="1"/>
              <a:t>testing</a:t>
            </a:r>
            <a:r>
              <a:rPr lang="pl-PL" sz="1050" dirty="0"/>
              <a:t>:</a:t>
            </a:r>
          </a:p>
          <a:p>
            <a:pPr marL="214313" indent="-214313">
              <a:buFont typeface="Arial" panose="020B0604020202020204" pitchFamily="34" charset="0"/>
              <a:buChar char="•"/>
            </a:pPr>
            <a:r>
              <a:rPr lang="pl-PL" sz="1050" dirty="0"/>
              <a:t>Components </a:t>
            </a:r>
            <a:r>
              <a:rPr lang="pl-PL" sz="1050" dirty="0" err="1"/>
              <a:t>tests</a:t>
            </a:r>
            <a:endParaRPr lang="pl-PL" sz="1050" dirty="0"/>
          </a:p>
          <a:p>
            <a:pPr marL="214313" indent="-214313">
              <a:buFont typeface="Arial" panose="020B0604020202020204" pitchFamily="34" charset="0"/>
              <a:buChar char="•"/>
            </a:pPr>
            <a:r>
              <a:rPr lang="pl-PL" sz="1050" dirty="0"/>
              <a:t>Unit </a:t>
            </a:r>
            <a:r>
              <a:rPr lang="pl-PL" sz="1050" dirty="0" err="1"/>
              <a:t>tests</a:t>
            </a:r>
            <a:endParaRPr lang="pl-PL" sz="1050" dirty="0"/>
          </a:p>
        </p:txBody>
      </p:sp>
      <p:cxnSp>
        <p:nvCxnSpPr>
          <p:cNvPr id="43" name="Straight Connector 42">
            <a:extLst>
              <a:ext uri="{FF2B5EF4-FFF2-40B4-BE49-F238E27FC236}">
                <a16:creationId xmlns:a16="http://schemas.microsoft.com/office/drawing/2014/main" id="{BC2643E4-FF82-464D-B694-87CAB0939806}"/>
              </a:ext>
            </a:extLst>
          </p:cNvPr>
          <p:cNvCxnSpPr>
            <a:cxnSpLocks/>
            <a:endCxn id="10" idx="0"/>
          </p:cNvCxnSpPr>
          <p:nvPr/>
        </p:nvCxnSpPr>
        <p:spPr>
          <a:xfrm flipH="1">
            <a:off x="3815916" y="2186862"/>
            <a:ext cx="2592288"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7E05C607-EB65-4428-9C1F-1E8FE233C24B}"/>
              </a:ext>
            </a:extLst>
          </p:cNvPr>
          <p:cNvSpPr txBox="1"/>
          <p:nvPr/>
        </p:nvSpPr>
        <p:spPr>
          <a:xfrm>
            <a:off x="4572001" y="2820736"/>
            <a:ext cx="1528303" cy="577081"/>
          </a:xfrm>
          <a:prstGeom prst="rect">
            <a:avLst/>
          </a:prstGeom>
          <a:noFill/>
        </p:spPr>
        <p:txBody>
          <a:bodyPr wrap="none" rtlCol="0">
            <a:spAutoFit/>
          </a:bodyPr>
          <a:lstStyle/>
          <a:p>
            <a:r>
              <a:rPr lang="pl-PL" sz="1050" dirty="0"/>
              <a:t>Black-</a:t>
            </a:r>
            <a:r>
              <a:rPr lang="pl-PL" sz="1050" dirty="0" err="1"/>
              <a:t>box</a:t>
            </a:r>
            <a:r>
              <a:rPr lang="pl-PL" sz="1050" dirty="0"/>
              <a:t> </a:t>
            </a:r>
            <a:r>
              <a:rPr lang="pl-PL" sz="1050" dirty="0" err="1"/>
              <a:t>testing</a:t>
            </a:r>
            <a:r>
              <a:rPr lang="pl-PL" sz="1050" dirty="0"/>
              <a:t>:</a:t>
            </a:r>
          </a:p>
          <a:p>
            <a:pPr marL="214313" indent="-214313">
              <a:buFont typeface="Arial" panose="020B0604020202020204" pitchFamily="34" charset="0"/>
              <a:buChar char="•"/>
            </a:pPr>
            <a:r>
              <a:rPr lang="pl-PL" sz="1050" dirty="0"/>
              <a:t>System </a:t>
            </a:r>
            <a:r>
              <a:rPr lang="pl-PL" sz="1050" dirty="0" err="1"/>
              <a:t>tests</a:t>
            </a:r>
            <a:endParaRPr lang="pl-PL" sz="1050" dirty="0"/>
          </a:p>
          <a:p>
            <a:pPr marL="214313" indent="-214313">
              <a:buFont typeface="Arial" panose="020B0604020202020204" pitchFamily="34" charset="0"/>
              <a:buChar char="•"/>
            </a:pPr>
            <a:r>
              <a:rPr lang="pl-PL" sz="1050" dirty="0"/>
              <a:t>Integration </a:t>
            </a:r>
            <a:r>
              <a:rPr lang="pl-PL" sz="1050" dirty="0" err="1"/>
              <a:t>tests</a:t>
            </a:r>
            <a:endParaRPr lang="pl-PL" sz="1050" dirty="0"/>
          </a:p>
        </p:txBody>
      </p:sp>
    </p:spTree>
    <p:extLst>
      <p:ext uri="{BB962C8B-B14F-4D97-AF65-F5344CB8AC3E}">
        <p14:creationId xmlns:p14="http://schemas.microsoft.com/office/powerpoint/2010/main" val="20754402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est framework</a:t>
            </a:r>
          </a:p>
        </p:txBody>
      </p:sp>
      <p:sp>
        <p:nvSpPr>
          <p:cNvPr id="5" name="TextBox 4"/>
          <p:cNvSpPr txBox="1"/>
          <p:nvPr/>
        </p:nvSpPr>
        <p:spPr>
          <a:xfrm>
            <a:off x="2339752" y="1301996"/>
            <a:ext cx="3672408" cy="552715"/>
          </a:xfrm>
          <a:prstGeom prst="rect">
            <a:avLst/>
          </a:prstGeom>
          <a:noFill/>
        </p:spPr>
        <p:txBody>
          <a:bodyPr wrap="square" rtlCol="0">
            <a:spAutoFit/>
          </a:bodyPr>
          <a:lstStyle/>
          <a:p>
            <a:pPr>
              <a:lnSpc>
                <a:spcPct val="90000"/>
              </a:lnSpc>
            </a:pPr>
            <a:r>
              <a:rPr lang="pl-PL" sz="1662"/>
              <a:t>Target: </a:t>
            </a:r>
            <a:r>
              <a:rPr lang="en-US" sz="1662"/>
              <a:t>Define</a:t>
            </a:r>
            <a:r>
              <a:rPr lang="pl-PL" sz="1662"/>
              <a:t> </a:t>
            </a:r>
            <a:r>
              <a:rPr lang="pl-PL" sz="1662" err="1"/>
              <a:t>scope</a:t>
            </a:r>
            <a:r>
              <a:rPr lang="pl-PL" sz="1662"/>
              <a:t> of </a:t>
            </a:r>
            <a:r>
              <a:rPr lang="pl-PL" sz="1662" err="1"/>
              <a:t>DevOps</a:t>
            </a:r>
            <a:r>
              <a:rPr lang="pl-PL" sz="1662"/>
              <a:t> test automation</a:t>
            </a:r>
            <a:endParaRPr lang="en-US" sz="1662"/>
          </a:p>
        </p:txBody>
      </p:sp>
      <p:sp>
        <p:nvSpPr>
          <p:cNvPr id="6" name="Rectangle 5"/>
          <p:cNvSpPr/>
          <p:nvPr/>
        </p:nvSpPr>
        <p:spPr>
          <a:xfrm>
            <a:off x="251521" y="1767278"/>
            <a:ext cx="3960440" cy="782907"/>
          </a:xfrm>
          <a:prstGeom prst="rect">
            <a:avLst/>
          </a:prstGeom>
        </p:spPr>
        <p:txBody>
          <a:bodyPr wrap="square">
            <a:spAutoFit/>
          </a:bodyPr>
          <a:lstStyle/>
          <a:p>
            <a:pPr>
              <a:lnSpc>
                <a:spcPct val="90000"/>
              </a:lnSpc>
            </a:pPr>
            <a:r>
              <a:rPr lang="en-US" sz="1662"/>
              <a:t>Input: </a:t>
            </a:r>
            <a:endParaRPr lang="pl-PL" sz="1662"/>
          </a:p>
          <a:p>
            <a:pPr>
              <a:lnSpc>
                <a:spcPct val="90000"/>
              </a:lnSpc>
              <a:buClr>
                <a:schemeClr val="tx2"/>
              </a:buClr>
              <a:buFont typeface="Wingdings"/>
              <a:buChar char="§"/>
            </a:pPr>
            <a:r>
              <a:rPr lang="pl-PL" sz="1662"/>
              <a:t> </a:t>
            </a:r>
            <a:r>
              <a:rPr lang="pl-PL" sz="1662" err="1"/>
              <a:t>organization</a:t>
            </a:r>
            <a:r>
              <a:rPr lang="pl-PL" sz="1662"/>
              <a:t> test </a:t>
            </a:r>
            <a:r>
              <a:rPr lang="pl-PL" sz="1662" err="1"/>
              <a:t>strategy</a:t>
            </a:r>
            <a:endParaRPr lang="en-US" sz="1662"/>
          </a:p>
          <a:p>
            <a:pPr>
              <a:lnSpc>
                <a:spcPct val="90000"/>
              </a:lnSpc>
            </a:pPr>
            <a:endParaRPr lang="en-US" sz="1662"/>
          </a:p>
        </p:txBody>
      </p:sp>
      <p:sp>
        <p:nvSpPr>
          <p:cNvPr id="7" name="Rectangle 6"/>
          <p:cNvSpPr/>
          <p:nvPr/>
        </p:nvSpPr>
        <p:spPr>
          <a:xfrm>
            <a:off x="5220073" y="1833747"/>
            <a:ext cx="3744416" cy="552715"/>
          </a:xfrm>
          <a:prstGeom prst="rect">
            <a:avLst/>
          </a:prstGeom>
        </p:spPr>
        <p:txBody>
          <a:bodyPr wrap="square">
            <a:spAutoFit/>
          </a:bodyPr>
          <a:lstStyle/>
          <a:p>
            <a:pPr>
              <a:lnSpc>
                <a:spcPct val="90000"/>
              </a:lnSpc>
            </a:pPr>
            <a:r>
              <a:rPr lang="en-US" sz="1662"/>
              <a:t>Output: </a:t>
            </a:r>
            <a:endParaRPr lang="pl-PL" sz="1662"/>
          </a:p>
          <a:p>
            <a:pPr>
              <a:lnSpc>
                <a:spcPct val="90000"/>
              </a:lnSpc>
              <a:buClr>
                <a:schemeClr val="tx2"/>
              </a:buClr>
              <a:buFont typeface="Wingdings"/>
              <a:buChar char="§"/>
            </a:pPr>
            <a:r>
              <a:rPr lang="pl-PL" sz="1662"/>
              <a:t> </a:t>
            </a:r>
            <a:r>
              <a:rPr lang="pl-PL" sz="1662" err="1"/>
              <a:t>virtualization</a:t>
            </a:r>
            <a:r>
              <a:rPr lang="pl-PL" sz="1662"/>
              <a:t> </a:t>
            </a:r>
            <a:r>
              <a:rPr lang="pl-PL" sz="1662" err="1"/>
              <a:t>strategy</a:t>
            </a:r>
            <a:endParaRPr lang="en-US" sz="1662"/>
          </a:p>
        </p:txBody>
      </p:sp>
      <p:pic>
        <p:nvPicPr>
          <p:cNvPr id="8" name="Content Placeholder 15"/>
          <p:cNvPicPr>
            <a:picLocks noChangeAspect="1"/>
          </p:cNvPicPr>
          <p:nvPr/>
        </p:nvPicPr>
        <p:blipFill>
          <a:blip r:embed="rId2" cstate="print"/>
          <a:stretch>
            <a:fillRect/>
          </a:stretch>
        </p:blipFill>
        <p:spPr>
          <a:xfrm>
            <a:off x="1547665" y="2313842"/>
            <a:ext cx="7267575" cy="4280389"/>
          </a:xfrm>
          <a:prstGeom prst="rect">
            <a:avLst/>
          </a:prstGeom>
        </p:spPr>
      </p:pic>
      <p:sp>
        <p:nvSpPr>
          <p:cNvPr id="9" name="TextBox 8"/>
          <p:cNvSpPr txBox="1"/>
          <p:nvPr/>
        </p:nvSpPr>
        <p:spPr>
          <a:xfrm>
            <a:off x="179513" y="4758378"/>
            <a:ext cx="5664308" cy="1512594"/>
          </a:xfrm>
          <a:prstGeom prst="rect">
            <a:avLst/>
          </a:prstGeom>
          <a:noFill/>
        </p:spPr>
        <p:txBody>
          <a:bodyPr wrap="none" rtlCol="0">
            <a:spAutoFit/>
          </a:bodyPr>
          <a:lstStyle/>
          <a:p>
            <a:pPr marL="263776" indent="-263776">
              <a:buClr>
                <a:schemeClr val="tx2"/>
              </a:buClr>
              <a:buFont typeface="Wingdings"/>
              <a:buChar char="§"/>
            </a:pPr>
            <a:r>
              <a:rPr lang="en-US" sz="1846"/>
              <a:t>Service is unavailable</a:t>
            </a:r>
          </a:p>
          <a:p>
            <a:pPr marL="263776" indent="-263776">
              <a:buClr>
                <a:schemeClr val="tx2"/>
              </a:buClr>
              <a:buFont typeface="Wingdings"/>
              <a:buChar char="§"/>
            </a:pPr>
            <a:r>
              <a:rPr lang="en-US" sz="1846"/>
              <a:t>Data given by service are changing to often</a:t>
            </a:r>
          </a:p>
          <a:p>
            <a:pPr marL="263776" indent="-263776">
              <a:buClr>
                <a:schemeClr val="tx2"/>
              </a:buClr>
              <a:buFont typeface="Wingdings"/>
              <a:buChar char="§"/>
            </a:pPr>
            <a:r>
              <a:rPr lang="en-US" sz="1846"/>
              <a:t>Simulate all possible type of data served </a:t>
            </a:r>
            <a:br>
              <a:rPr lang="pl-PL" sz="1846"/>
            </a:br>
            <a:r>
              <a:rPr lang="en-US" sz="1846"/>
              <a:t>by service</a:t>
            </a:r>
          </a:p>
          <a:p>
            <a:pPr marL="263776" indent="-263776">
              <a:buClr>
                <a:schemeClr val="tx2"/>
              </a:buClr>
              <a:buFont typeface="Wingdings"/>
              <a:buChar char="§"/>
            </a:pPr>
            <a:r>
              <a:rPr lang="en-US" sz="1846"/>
              <a:t>Simulate alarms from service</a:t>
            </a:r>
          </a:p>
        </p:txBody>
      </p:sp>
    </p:spTree>
    <p:extLst>
      <p:ext uri="{BB962C8B-B14F-4D97-AF65-F5344CB8AC3E}">
        <p14:creationId xmlns:p14="http://schemas.microsoft.com/office/powerpoint/2010/main" val="36311085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26ABBACB-7B72-4F0C-8C7E-05F69B7767EA}"/>
              </a:ext>
            </a:extLst>
          </p:cNvPr>
          <p:cNvSpPr/>
          <p:nvPr/>
        </p:nvSpPr>
        <p:spPr>
          <a:xfrm>
            <a:off x="611560" y="2672916"/>
            <a:ext cx="1296144" cy="756084"/>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tx1"/>
                </a:solidFill>
              </a:rPr>
              <a:t>Application Under </a:t>
            </a:r>
          </a:p>
          <a:p>
            <a:pPr algn="ctr"/>
            <a:r>
              <a:rPr lang="pl-PL" sz="1400" dirty="0">
                <a:solidFill>
                  <a:schemeClr val="tx1"/>
                </a:solidFill>
              </a:rPr>
              <a:t>Test</a:t>
            </a:r>
            <a:endParaRPr lang="en-US" sz="1400" dirty="0">
              <a:solidFill>
                <a:schemeClr val="tx1"/>
              </a:solidFill>
            </a:endParaRPr>
          </a:p>
        </p:txBody>
      </p:sp>
      <p:sp>
        <p:nvSpPr>
          <p:cNvPr id="7" name="Rectangle: Rounded Corners 6">
            <a:extLst>
              <a:ext uri="{FF2B5EF4-FFF2-40B4-BE49-F238E27FC236}">
                <a16:creationId xmlns:a16="http://schemas.microsoft.com/office/drawing/2014/main" id="{5CFA93DF-15E4-4F83-BB5E-5C7C7F7B7117}"/>
              </a:ext>
            </a:extLst>
          </p:cNvPr>
          <p:cNvSpPr/>
          <p:nvPr/>
        </p:nvSpPr>
        <p:spPr>
          <a:xfrm>
            <a:off x="4860032" y="2672916"/>
            <a:ext cx="1296144" cy="756084"/>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err="1">
                <a:solidFill>
                  <a:schemeClr val="tx1"/>
                </a:solidFill>
              </a:rPr>
              <a:t>WebAPI</a:t>
            </a:r>
            <a:endParaRPr lang="en-US" sz="1400" dirty="0">
              <a:solidFill>
                <a:schemeClr val="tx1"/>
              </a:solidFill>
            </a:endParaRPr>
          </a:p>
          <a:p>
            <a:pPr algn="ctr"/>
            <a:r>
              <a:rPr lang="en-US" sz="1400" dirty="0">
                <a:solidFill>
                  <a:schemeClr val="tx1"/>
                </a:solidFill>
              </a:rPr>
              <a:t>/hello</a:t>
            </a:r>
          </a:p>
        </p:txBody>
      </p:sp>
      <p:sp>
        <p:nvSpPr>
          <p:cNvPr id="8" name="Flowchart: Magnetic Disk 7">
            <a:extLst>
              <a:ext uri="{FF2B5EF4-FFF2-40B4-BE49-F238E27FC236}">
                <a16:creationId xmlns:a16="http://schemas.microsoft.com/office/drawing/2014/main" id="{CF294909-C99B-443B-BCCE-15E926DDF10E}"/>
              </a:ext>
            </a:extLst>
          </p:cNvPr>
          <p:cNvSpPr/>
          <p:nvPr/>
        </p:nvSpPr>
        <p:spPr>
          <a:xfrm>
            <a:off x="7380312" y="2564904"/>
            <a:ext cx="1152128" cy="936104"/>
          </a:xfrm>
          <a:prstGeom prst="flowChartMagneticDisk">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err="1">
                <a:solidFill>
                  <a:schemeClr val="tx1"/>
                </a:solidFill>
              </a:rPr>
              <a:t>DataBase</a:t>
            </a:r>
            <a:endParaRPr lang="en-US" sz="1400" dirty="0">
              <a:solidFill>
                <a:schemeClr val="tx1"/>
              </a:solidFill>
            </a:endParaRPr>
          </a:p>
        </p:txBody>
      </p:sp>
      <p:cxnSp>
        <p:nvCxnSpPr>
          <p:cNvPr id="12" name="Straight Arrow Connector 11">
            <a:extLst>
              <a:ext uri="{FF2B5EF4-FFF2-40B4-BE49-F238E27FC236}">
                <a16:creationId xmlns:a16="http://schemas.microsoft.com/office/drawing/2014/main" id="{458D6075-B458-411B-9009-A9AA49EFB538}"/>
              </a:ext>
            </a:extLst>
          </p:cNvPr>
          <p:cNvCxnSpPr>
            <a:stCxn id="6" idx="3"/>
            <a:endCxn id="7" idx="1"/>
          </p:cNvCxnSpPr>
          <p:nvPr/>
        </p:nvCxnSpPr>
        <p:spPr>
          <a:xfrm>
            <a:off x="1907704" y="3050958"/>
            <a:ext cx="2952328" cy="0"/>
          </a:xfrm>
          <a:prstGeom prst="straightConnector1">
            <a:avLst/>
          </a:prstGeom>
          <a:ln w="254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1ADCA74F-7971-4168-B2EA-75E7430102B6}"/>
              </a:ext>
            </a:extLst>
          </p:cNvPr>
          <p:cNvCxnSpPr>
            <a:stCxn id="7" idx="3"/>
            <a:endCxn id="8" idx="2"/>
          </p:cNvCxnSpPr>
          <p:nvPr/>
        </p:nvCxnSpPr>
        <p:spPr>
          <a:xfrm flipV="1">
            <a:off x="6156176" y="3032956"/>
            <a:ext cx="1224136" cy="18002"/>
          </a:xfrm>
          <a:prstGeom prst="straightConnector1">
            <a:avLst/>
          </a:prstGeom>
          <a:ln w="254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6060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039CDB-5936-4623-A3CC-DBB54503ACE3}"/>
              </a:ext>
            </a:extLst>
          </p:cNvPr>
          <p:cNvSpPr>
            <a:spLocks noGrp="1"/>
          </p:cNvSpPr>
          <p:nvPr>
            <p:ph type="title"/>
          </p:nvPr>
        </p:nvSpPr>
        <p:spPr/>
        <p:txBody>
          <a:bodyPr/>
          <a:lstStyle/>
          <a:p>
            <a:r>
              <a:rPr lang="en-US" dirty="0"/>
              <a:t>Application structure with virtualized back-end </a:t>
            </a:r>
          </a:p>
        </p:txBody>
      </p:sp>
      <p:sp>
        <p:nvSpPr>
          <p:cNvPr id="6" name="Rectangle: Rounded Corners 5">
            <a:extLst>
              <a:ext uri="{FF2B5EF4-FFF2-40B4-BE49-F238E27FC236}">
                <a16:creationId xmlns:a16="http://schemas.microsoft.com/office/drawing/2014/main" id="{26ABBACB-7B72-4F0C-8C7E-05F69B7767EA}"/>
              </a:ext>
            </a:extLst>
          </p:cNvPr>
          <p:cNvSpPr/>
          <p:nvPr/>
        </p:nvSpPr>
        <p:spPr>
          <a:xfrm>
            <a:off x="683568" y="1880828"/>
            <a:ext cx="1296144" cy="756084"/>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tx1"/>
                </a:solidFill>
              </a:rPr>
              <a:t>Application Under </a:t>
            </a:r>
          </a:p>
          <a:p>
            <a:pPr algn="ctr"/>
            <a:r>
              <a:rPr lang="pl-PL" sz="1400" dirty="0">
                <a:solidFill>
                  <a:schemeClr val="tx1"/>
                </a:solidFill>
              </a:rPr>
              <a:t>Test</a:t>
            </a:r>
            <a:endParaRPr lang="en-US" sz="1400" dirty="0">
              <a:solidFill>
                <a:schemeClr val="tx1"/>
              </a:solidFill>
            </a:endParaRPr>
          </a:p>
        </p:txBody>
      </p:sp>
      <p:sp>
        <p:nvSpPr>
          <p:cNvPr id="7" name="Rectangle: Rounded Corners 6">
            <a:extLst>
              <a:ext uri="{FF2B5EF4-FFF2-40B4-BE49-F238E27FC236}">
                <a16:creationId xmlns:a16="http://schemas.microsoft.com/office/drawing/2014/main" id="{5CFA93DF-15E4-4F83-BB5E-5C7C7F7B7117}"/>
              </a:ext>
            </a:extLst>
          </p:cNvPr>
          <p:cNvSpPr/>
          <p:nvPr/>
        </p:nvSpPr>
        <p:spPr>
          <a:xfrm>
            <a:off x="4932040" y="1880828"/>
            <a:ext cx="1296144" cy="756084"/>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err="1">
                <a:solidFill>
                  <a:schemeClr val="tx1"/>
                </a:solidFill>
              </a:rPr>
              <a:t>WebAPI</a:t>
            </a:r>
            <a:endParaRPr lang="en-US" sz="1400" dirty="0">
              <a:solidFill>
                <a:schemeClr val="tx1"/>
              </a:solidFill>
            </a:endParaRPr>
          </a:p>
          <a:p>
            <a:pPr algn="ctr"/>
            <a:r>
              <a:rPr lang="en-US" sz="1400" dirty="0">
                <a:solidFill>
                  <a:schemeClr val="tx1"/>
                </a:solidFill>
              </a:rPr>
              <a:t>/hello</a:t>
            </a:r>
          </a:p>
        </p:txBody>
      </p:sp>
      <p:sp>
        <p:nvSpPr>
          <p:cNvPr id="8" name="Flowchart: Magnetic Disk 7">
            <a:extLst>
              <a:ext uri="{FF2B5EF4-FFF2-40B4-BE49-F238E27FC236}">
                <a16:creationId xmlns:a16="http://schemas.microsoft.com/office/drawing/2014/main" id="{CF294909-C99B-443B-BCCE-15E926DDF10E}"/>
              </a:ext>
            </a:extLst>
          </p:cNvPr>
          <p:cNvSpPr/>
          <p:nvPr/>
        </p:nvSpPr>
        <p:spPr>
          <a:xfrm>
            <a:off x="7452320" y="1772816"/>
            <a:ext cx="1152128" cy="936104"/>
          </a:xfrm>
          <a:prstGeom prst="flowChartMagneticDisk">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err="1">
                <a:solidFill>
                  <a:schemeClr val="tx1"/>
                </a:solidFill>
              </a:rPr>
              <a:t>DataBase</a:t>
            </a:r>
            <a:endParaRPr lang="en-US" sz="1400" dirty="0">
              <a:solidFill>
                <a:schemeClr val="tx1"/>
              </a:solidFill>
            </a:endParaRPr>
          </a:p>
        </p:txBody>
      </p:sp>
      <p:cxnSp>
        <p:nvCxnSpPr>
          <p:cNvPr id="12" name="Straight Arrow Connector 11">
            <a:extLst>
              <a:ext uri="{FF2B5EF4-FFF2-40B4-BE49-F238E27FC236}">
                <a16:creationId xmlns:a16="http://schemas.microsoft.com/office/drawing/2014/main" id="{458D6075-B458-411B-9009-A9AA49EFB538}"/>
              </a:ext>
            </a:extLst>
          </p:cNvPr>
          <p:cNvCxnSpPr>
            <a:stCxn id="6" idx="3"/>
            <a:endCxn id="7" idx="1"/>
          </p:cNvCxnSpPr>
          <p:nvPr/>
        </p:nvCxnSpPr>
        <p:spPr>
          <a:xfrm>
            <a:off x="1979712" y="2258870"/>
            <a:ext cx="2952328" cy="0"/>
          </a:xfrm>
          <a:prstGeom prst="straightConnector1">
            <a:avLst/>
          </a:prstGeom>
          <a:ln w="254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1ADCA74F-7971-4168-B2EA-75E7430102B6}"/>
              </a:ext>
            </a:extLst>
          </p:cNvPr>
          <p:cNvCxnSpPr>
            <a:stCxn id="7" idx="3"/>
            <a:endCxn id="8" idx="2"/>
          </p:cNvCxnSpPr>
          <p:nvPr/>
        </p:nvCxnSpPr>
        <p:spPr>
          <a:xfrm flipV="1">
            <a:off x="6228184" y="2240868"/>
            <a:ext cx="1224136" cy="18002"/>
          </a:xfrm>
          <a:prstGeom prst="straightConnector1">
            <a:avLst/>
          </a:prstGeom>
          <a:ln w="254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9" name="Rectangle: Rounded Corners 18">
            <a:extLst>
              <a:ext uri="{FF2B5EF4-FFF2-40B4-BE49-F238E27FC236}">
                <a16:creationId xmlns:a16="http://schemas.microsoft.com/office/drawing/2014/main" id="{5510CF7C-E249-4BFA-9E1C-56ADD03486CC}"/>
              </a:ext>
            </a:extLst>
          </p:cNvPr>
          <p:cNvSpPr/>
          <p:nvPr/>
        </p:nvSpPr>
        <p:spPr>
          <a:xfrm>
            <a:off x="683568" y="4128098"/>
            <a:ext cx="1296144" cy="756084"/>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tx1"/>
                </a:solidFill>
              </a:rPr>
              <a:t>Application Under </a:t>
            </a:r>
          </a:p>
          <a:p>
            <a:pPr algn="ctr"/>
            <a:r>
              <a:rPr lang="pl-PL" sz="1400" dirty="0">
                <a:solidFill>
                  <a:schemeClr val="tx1"/>
                </a:solidFill>
              </a:rPr>
              <a:t>Test</a:t>
            </a:r>
            <a:endParaRPr lang="en-US" sz="1400" dirty="0">
              <a:solidFill>
                <a:schemeClr val="tx1"/>
              </a:solidFill>
            </a:endParaRPr>
          </a:p>
        </p:txBody>
      </p:sp>
      <p:sp>
        <p:nvSpPr>
          <p:cNvPr id="20" name="Rectangle: Rounded Corners 19">
            <a:extLst>
              <a:ext uri="{FF2B5EF4-FFF2-40B4-BE49-F238E27FC236}">
                <a16:creationId xmlns:a16="http://schemas.microsoft.com/office/drawing/2014/main" id="{AA686419-170E-4FC9-AE29-50256F6055EF}"/>
              </a:ext>
            </a:extLst>
          </p:cNvPr>
          <p:cNvSpPr/>
          <p:nvPr/>
        </p:nvSpPr>
        <p:spPr>
          <a:xfrm>
            <a:off x="4932040" y="4128098"/>
            <a:ext cx="1296144" cy="756084"/>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err="1">
                <a:solidFill>
                  <a:schemeClr val="tx1"/>
                </a:solidFill>
              </a:rPr>
              <a:t>WebAPI</a:t>
            </a:r>
            <a:endParaRPr lang="en-US" sz="1400" dirty="0">
              <a:solidFill>
                <a:schemeClr val="tx1"/>
              </a:solidFill>
            </a:endParaRPr>
          </a:p>
          <a:p>
            <a:pPr algn="ctr"/>
            <a:r>
              <a:rPr lang="en-US" sz="1400" dirty="0">
                <a:solidFill>
                  <a:schemeClr val="tx1"/>
                </a:solidFill>
              </a:rPr>
              <a:t>/hello</a:t>
            </a:r>
          </a:p>
        </p:txBody>
      </p:sp>
      <p:sp>
        <p:nvSpPr>
          <p:cNvPr id="21" name="Flowchart: Magnetic Disk 20">
            <a:extLst>
              <a:ext uri="{FF2B5EF4-FFF2-40B4-BE49-F238E27FC236}">
                <a16:creationId xmlns:a16="http://schemas.microsoft.com/office/drawing/2014/main" id="{4A85367D-6568-407A-9DEB-36E451DC83C0}"/>
              </a:ext>
            </a:extLst>
          </p:cNvPr>
          <p:cNvSpPr/>
          <p:nvPr/>
        </p:nvSpPr>
        <p:spPr>
          <a:xfrm>
            <a:off x="7452320" y="4020086"/>
            <a:ext cx="1152128" cy="936104"/>
          </a:xfrm>
          <a:prstGeom prst="flowChartMagneticDisk">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err="1">
                <a:solidFill>
                  <a:schemeClr val="tx1"/>
                </a:solidFill>
              </a:rPr>
              <a:t>DataBase</a:t>
            </a:r>
            <a:endParaRPr lang="en-US" sz="1400" dirty="0">
              <a:solidFill>
                <a:schemeClr val="tx1"/>
              </a:solidFill>
            </a:endParaRPr>
          </a:p>
        </p:txBody>
      </p:sp>
      <p:cxnSp>
        <p:nvCxnSpPr>
          <p:cNvPr id="22" name="Straight Arrow Connector 21">
            <a:extLst>
              <a:ext uri="{FF2B5EF4-FFF2-40B4-BE49-F238E27FC236}">
                <a16:creationId xmlns:a16="http://schemas.microsoft.com/office/drawing/2014/main" id="{36292B4B-F586-46D4-820A-A7F7E522D8F1}"/>
              </a:ext>
            </a:extLst>
          </p:cNvPr>
          <p:cNvCxnSpPr>
            <a:cxnSpLocks/>
            <a:stCxn id="19" idx="3"/>
            <a:endCxn id="24" idx="1"/>
          </p:cNvCxnSpPr>
          <p:nvPr/>
        </p:nvCxnSpPr>
        <p:spPr>
          <a:xfrm flipV="1">
            <a:off x="1979712" y="4497139"/>
            <a:ext cx="720081" cy="9001"/>
          </a:xfrm>
          <a:prstGeom prst="straightConnector1">
            <a:avLst/>
          </a:prstGeom>
          <a:ln w="254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9B7D5ABB-8690-4289-9B82-B525E09B474A}"/>
              </a:ext>
            </a:extLst>
          </p:cNvPr>
          <p:cNvCxnSpPr>
            <a:cxnSpLocks/>
            <a:stCxn id="20" idx="3"/>
            <a:endCxn id="21" idx="2"/>
          </p:cNvCxnSpPr>
          <p:nvPr/>
        </p:nvCxnSpPr>
        <p:spPr>
          <a:xfrm flipV="1">
            <a:off x="6228184" y="4488138"/>
            <a:ext cx="1224136" cy="18002"/>
          </a:xfrm>
          <a:prstGeom prst="straightConnector1">
            <a:avLst/>
          </a:prstGeom>
          <a:ln w="254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Rectangle: Rounded Corners 23">
            <a:extLst>
              <a:ext uri="{FF2B5EF4-FFF2-40B4-BE49-F238E27FC236}">
                <a16:creationId xmlns:a16="http://schemas.microsoft.com/office/drawing/2014/main" id="{6FA376AF-A09E-416F-8C29-CC5C84B521C4}"/>
              </a:ext>
            </a:extLst>
          </p:cNvPr>
          <p:cNvSpPr/>
          <p:nvPr/>
        </p:nvSpPr>
        <p:spPr>
          <a:xfrm>
            <a:off x="2699793" y="4119097"/>
            <a:ext cx="1296144" cy="756084"/>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tx1"/>
                </a:solidFill>
              </a:rPr>
              <a:t>Proxy</a:t>
            </a:r>
            <a:r>
              <a:rPr lang="en-US" sz="1400" dirty="0">
                <a:solidFill>
                  <a:schemeClr val="tx1"/>
                </a:solidFill>
              </a:rPr>
              <a:t> Binder</a:t>
            </a:r>
          </a:p>
        </p:txBody>
      </p:sp>
      <p:sp>
        <p:nvSpPr>
          <p:cNvPr id="25" name="Rectangle: Rounded Corners 24">
            <a:extLst>
              <a:ext uri="{FF2B5EF4-FFF2-40B4-BE49-F238E27FC236}">
                <a16:creationId xmlns:a16="http://schemas.microsoft.com/office/drawing/2014/main" id="{A6ED222F-6F14-40CC-94AE-01FA84ABC2D8}"/>
              </a:ext>
            </a:extLst>
          </p:cNvPr>
          <p:cNvSpPr/>
          <p:nvPr/>
        </p:nvSpPr>
        <p:spPr>
          <a:xfrm>
            <a:off x="2699793" y="5688407"/>
            <a:ext cx="1296144" cy="756084"/>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Virtual assets</a:t>
            </a:r>
          </a:p>
          <a:p>
            <a:pPr algn="ctr"/>
            <a:r>
              <a:rPr lang="en-US" sz="1400" dirty="0">
                <a:solidFill>
                  <a:schemeClr val="tx1"/>
                </a:solidFill>
              </a:rPr>
              <a:t>/hello</a:t>
            </a:r>
          </a:p>
        </p:txBody>
      </p:sp>
      <p:cxnSp>
        <p:nvCxnSpPr>
          <p:cNvPr id="28" name="Straight Arrow Connector 27">
            <a:extLst>
              <a:ext uri="{FF2B5EF4-FFF2-40B4-BE49-F238E27FC236}">
                <a16:creationId xmlns:a16="http://schemas.microsoft.com/office/drawing/2014/main" id="{5E4A289D-763E-4FFD-93DC-85ED043EAB67}"/>
              </a:ext>
            </a:extLst>
          </p:cNvPr>
          <p:cNvCxnSpPr>
            <a:cxnSpLocks/>
            <a:stCxn id="25" idx="0"/>
            <a:endCxn id="24" idx="2"/>
          </p:cNvCxnSpPr>
          <p:nvPr/>
        </p:nvCxnSpPr>
        <p:spPr>
          <a:xfrm flipV="1">
            <a:off x="3347865" y="4875181"/>
            <a:ext cx="0" cy="813226"/>
          </a:xfrm>
          <a:prstGeom prst="straightConnector1">
            <a:avLst/>
          </a:prstGeom>
          <a:ln w="254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28AEB6A8-75C9-4B01-859A-EBDD1F8F6D82}"/>
              </a:ext>
            </a:extLst>
          </p:cNvPr>
          <p:cNvCxnSpPr>
            <a:cxnSpLocks/>
            <a:stCxn id="20" idx="1"/>
            <a:endCxn id="24" idx="3"/>
          </p:cNvCxnSpPr>
          <p:nvPr/>
        </p:nvCxnSpPr>
        <p:spPr>
          <a:xfrm flipH="1" flipV="1">
            <a:off x="3995937" y="4497139"/>
            <a:ext cx="936103" cy="9001"/>
          </a:xfrm>
          <a:prstGeom prst="straightConnector1">
            <a:avLst/>
          </a:prstGeom>
          <a:ln w="25400">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19DD4750-A89B-406A-A51F-8C775D3178C4}"/>
              </a:ext>
            </a:extLst>
          </p:cNvPr>
          <p:cNvSpPr/>
          <p:nvPr/>
        </p:nvSpPr>
        <p:spPr>
          <a:xfrm>
            <a:off x="2339752" y="3744191"/>
            <a:ext cx="2016222" cy="2997177"/>
          </a:xfrm>
          <a:prstGeom prst="rect">
            <a:avLst/>
          </a:prstGeom>
          <a:noFill/>
          <a:ln w="12700">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5" name="TextBox 34">
            <a:extLst>
              <a:ext uri="{FF2B5EF4-FFF2-40B4-BE49-F238E27FC236}">
                <a16:creationId xmlns:a16="http://schemas.microsoft.com/office/drawing/2014/main" id="{2A149369-F1EB-4547-B601-38BAD0EA3585}"/>
              </a:ext>
            </a:extLst>
          </p:cNvPr>
          <p:cNvSpPr txBox="1"/>
          <p:nvPr/>
        </p:nvSpPr>
        <p:spPr>
          <a:xfrm>
            <a:off x="2411760" y="3744191"/>
            <a:ext cx="1834733" cy="307777"/>
          </a:xfrm>
          <a:prstGeom prst="rect">
            <a:avLst/>
          </a:prstGeom>
          <a:noFill/>
        </p:spPr>
        <p:txBody>
          <a:bodyPr wrap="none" rtlCol="0">
            <a:spAutoFit/>
          </a:bodyPr>
          <a:lstStyle/>
          <a:p>
            <a:r>
              <a:rPr lang="en-US" sz="1400" dirty="0"/>
              <a:t>Virtualized service</a:t>
            </a:r>
          </a:p>
        </p:txBody>
      </p:sp>
      <p:cxnSp>
        <p:nvCxnSpPr>
          <p:cNvPr id="37" name="Straight Connector 36">
            <a:extLst>
              <a:ext uri="{FF2B5EF4-FFF2-40B4-BE49-F238E27FC236}">
                <a16:creationId xmlns:a16="http://schemas.microsoft.com/office/drawing/2014/main" id="{3243A820-C50F-40D1-9E1D-E17A975FA3E3}"/>
              </a:ext>
            </a:extLst>
          </p:cNvPr>
          <p:cNvCxnSpPr/>
          <p:nvPr/>
        </p:nvCxnSpPr>
        <p:spPr>
          <a:xfrm>
            <a:off x="0" y="2996952"/>
            <a:ext cx="91440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3F5D4DBB-88B1-481B-B15D-19B374E4E3E2}"/>
              </a:ext>
            </a:extLst>
          </p:cNvPr>
          <p:cNvSpPr txBox="1"/>
          <p:nvPr/>
        </p:nvSpPr>
        <p:spPr>
          <a:xfrm>
            <a:off x="323528" y="1196752"/>
            <a:ext cx="3438762" cy="369332"/>
          </a:xfrm>
          <a:prstGeom prst="rect">
            <a:avLst/>
          </a:prstGeom>
          <a:noFill/>
        </p:spPr>
        <p:txBody>
          <a:bodyPr wrap="none" rtlCol="0">
            <a:spAutoFit/>
          </a:bodyPr>
          <a:lstStyle/>
          <a:p>
            <a:r>
              <a:rPr lang="en-US" dirty="0"/>
              <a:t>Classic application structure</a:t>
            </a:r>
          </a:p>
        </p:txBody>
      </p:sp>
      <p:sp>
        <p:nvSpPr>
          <p:cNvPr id="39" name="TextBox 38">
            <a:extLst>
              <a:ext uri="{FF2B5EF4-FFF2-40B4-BE49-F238E27FC236}">
                <a16:creationId xmlns:a16="http://schemas.microsoft.com/office/drawing/2014/main" id="{5A49AD96-9483-4900-8000-227E0930C7E5}"/>
              </a:ext>
            </a:extLst>
          </p:cNvPr>
          <p:cNvSpPr txBox="1"/>
          <p:nvPr/>
        </p:nvSpPr>
        <p:spPr>
          <a:xfrm>
            <a:off x="257398" y="3200562"/>
            <a:ext cx="5594801" cy="369332"/>
          </a:xfrm>
          <a:prstGeom prst="rect">
            <a:avLst/>
          </a:prstGeom>
          <a:noFill/>
        </p:spPr>
        <p:txBody>
          <a:bodyPr wrap="none" rtlCol="0">
            <a:spAutoFit/>
          </a:bodyPr>
          <a:lstStyle/>
          <a:p>
            <a:r>
              <a:rPr lang="en-US" dirty="0"/>
              <a:t>Classic application structure with virtualization</a:t>
            </a:r>
          </a:p>
        </p:txBody>
      </p:sp>
    </p:spTree>
    <p:extLst>
      <p:ext uri="{BB962C8B-B14F-4D97-AF65-F5344CB8AC3E}">
        <p14:creationId xmlns:p14="http://schemas.microsoft.com/office/powerpoint/2010/main" val="3438725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 name="Rectangle: Rounded Corners 18">
            <a:extLst>
              <a:ext uri="{FF2B5EF4-FFF2-40B4-BE49-F238E27FC236}">
                <a16:creationId xmlns:a16="http://schemas.microsoft.com/office/drawing/2014/main" id="{5510CF7C-E249-4BFA-9E1C-56ADD03486CC}"/>
              </a:ext>
            </a:extLst>
          </p:cNvPr>
          <p:cNvSpPr/>
          <p:nvPr/>
        </p:nvSpPr>
        <p:spPr>
          <a:xfrm>
            <a:off x="899591" y="2645913"/>
            <a:ext cx="1296144" cy="756084"/>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tx1"/>
                </a:solidFill>
              </a:rPr>
              <a:t>Application Under </a:t>
            </a:r>
          </a:p>
          <a:p>
            <a:pPr algn="ctr"/>
            <a:r>
              <a:rPr lang="pl-PL" sz="1400" dirty="0">
                <a:solidFill>
                  <a:schemeClr val="tx1"/>
                </a:solidFill>
              </a:rPr>
              <a:t>Test</a:t>
            </a:r>
            <a:endParaRPr lang="en-US" sz="1400" dirty="0">
              <a:solidFill>
                <a:schemeClr val="tx1"/>
              </a:solidFill>
            </a:endParaRPr>
          </a:p>
        </p:txBody>
      </p:sp>
      <p:sp>
        <p:nvSpPr>
          <p:cNvPr id="20" name="Rectangle: Rounded Corners 19">
            <a:extLst>
              <a:ext uri="{FF2B5EF4-FFF2-40B4-BE49-F238E27FC236}">
                <a16:creationId xmlns:a16="http://schemas.microsoft.com/office/drawing/2014/main" id="{AA686419-170E-4FC9-AE29-50256F6055EF}"/>
              </a:ext>
            </a:extLst>
          </p:cNvPr>
          <p:cNvSpPr/>
          <p:nvPr/>
        </p:nvSpPr>
        <p:spPr>
          <a:xfrm>
            <a:off x="5148063" y="2645913"/>
            <a:ext cx="1296144" cy="756084"/>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err="1">
                <a:solidFill>
                  <a:schemeClr val="tx1"/>
                </a:solidFill>
              </a:rPr>
              <a:t>WebAPI</a:t>
            </a:r>
            <a:endParaRPr lang="en-US" sz="1400" dirty="0">
              <a:solidFill>
                <a:schemeClr val="tx1"/>
              </a:solidFill>
            </a:endParaRPr>
          </a:p>
          <a:p>
            <a:pPr algn="ctr"/>
            <a:r>
              <a:rPr lang="en-US" sz="1400" dirty="0">
                <a:solidFill>
                  <a:schemeClr val="tx1"/>
                </a:solidFill>
              </a:rPr>
              <a:t>/hello</a:t>
            </a:r>
          </a:p>
        </p:txBody>
      </p:sp>
      <p:sp>
        <p:nvSpPr>
          <p:cNvPr id="21" name="Flowchart: Magnetic Disk 20">
            <a:extLst>
              <a:ext uri="{FF2B5EF4-FFF2-40B4-BE49-F238E27FC236}">
                <a16:creationId xmlns:a16="http://schemas.microsoft.com/office/drawing/2014/main" id="{4A85367D-6568-407A-9DEB-36E451DC83C0}"/>
              </a:ext>
            </a:extLst>
          </p:cNvPr>
          <p:cNvSpPr/>
          <p:nvPr/>
        </p:nvSpPr>
        <p:spPr>
          <a:xfrm>
            <a:off x="7668343" y="2537901"/>
            <a:ext cx="1152128" cy="936104"/>
          </a:xfrm>
          <a:prstGeom prst="flowChartMagneticDisk">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err="1">
                <a:solidFill>
                  <a:schemeClr val="tx1"/>
                </a:solidFill>
              </a:rPr>
              <a:t>DataBase</a:t>
            </a:r>
            <a:endParaRPr lang="en-US" sz="1400" dirty="0">
              <a:solidFill>
                <a:schemeClr val="tx1"/>
              </a:solidFill>
            </a:endParaRPr>
          </a:p>
        </p:txBody>
      </p:sp>
      <p:cxnSp>
        <p:nvCxnSpPr>
          <p:cNvPr id="22" name="Straight Arrow Connector 21">
            <a:extLst>
              <a:ext uri="{FF2B5EF4-FFF2-40B4-BE49-F238E27FC236}">
                <a16:creationId xmlns:a16="http://schemas.microsoft.com/office/drawing/2014/main" id="{36292B4B-F586-46D4-820A-A7F7E522D8F1}"/>
              </a:ext>
            </a:extLst>
          </p:cNvPr>
          <p:cNvCxnSpPr>
            <a:cxnSpLocks/>
            <a:stCxn id="19" idx="3"/>
            <a:endCxn id="24" idx="1"/>
          </p:cNvCxnSpPr>
          <p:nvPr/>
        </p:nvCxnSpPr>
        <p:spPr>
          <a:xfrm flipV="1">
            <a:off x="2195735" y="3014954"/>
            <a:ext cx="720081" cy="9001"/>
          </a:xfrm>
          <a:prstGeom prst="straightConnector1">
            <a:avLst/>
          </a:prstGeom>
          <a:ln w="254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9B7D5ABB-8690-4289-9B82-B525E09B474A}"/>
              </a:ext>
            </a:extLst>
          </p:cNvPr>
          <p:cNvCxnSpPr>
            <a:cxnSpLocks/>
            <a:stCxn id="20" idx="3"/>
            <a:endCxn id="21" idx="2"/>
          </p:cNvCxnSpPr>
          <p:nvPr/>
        </p:nvCxnSpPr>
        <p:spPr>
          <a:xfrm flipV="1">
            <a:off x="6444207" y="3005953"/>
            <a:ext cx="1224136" cy="18002"/>
          </a:xfrm>
          <a:prstGeom prst="straightConnector1">
            <a:avLst/>
          </a:prstGeom>
          <a:ln w="254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Rectangle: Rounded Corners 23">
            <a:extLst>
              <a:ext uri="{FF2B5EF4-FFF2-40B4-BE49-F238E27FC236}">
                <a16:creationId xmlns:a16="http://schemas.microsoft.com/office/drawing/2014/main" id="{6FA376AF-A09E-416F-8C29-CC5C84B521C4}"/>
              </a:ext>
            </a:extLst>
          </p:cNvPr>
          <p:cNvSpPr/>
          <p:nvPr/>
        </p:nvSpPr>
        <p:spPr>
          <a:xfrm>
            <a:off x="2915816" y="2636912"/>
            <a:ext cx="1296144" cy="756084"/>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tx1"/>
                </a:solidFill>
              </a:rPr>
              <a:t>Proxy</a:t>
            </a:r>
            <a:r>
              <a:rPr lang="en-US" sz="1400" dirty="0">
                <a:solidFill>
                  <a:schemeClr val="tx1"/>
                </a:solidFill>
              </a:rPr>
              <a:t> Binder</a:t>
            </a:r>
          </a:p>
        </p:txBody>
      </p:sp>
      <p:sp>
        <p:nvSpPr>
          <p:cNvPr id="25" name="Rectangle: Rounded Corners 24">
            <a:extLst>
              <a:ext uri="{FF2B5EF4-FFF2-40B4-BE49-F238E27FC236}">
                <a16:creationId xmlns:a16="http://schemas.microsoft.com/office/drawing/2014/main" id="{A6ED222F-6F14-40CC-94AE-01FA84ABC2D8}"/>
              </a:ext>
            </a:extLst>
          </p:cNvPr>
          <p:cNvSpPr/>
          <p:nvPr/>
        </p:nvSpPr>
        <p:spPr>
          <a:xfrm>
            <a:off x="2915816" y="4206222"/>
            <a:ext cx="1296144" cy="756084"/>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Virtual assets</a:t>
            </a:r>
          </a:p>
          <a:p>
            <a:pPr algn="ctr"/>
            <a:r>
              <a:rPr lang="en-US" sz="1400" dirty="0">
                <a:solidFill>
                  <a:schemeClr val="tx1"/>
                </a:solidFill>
              </a:rPr>
              <a:t>/hello</a:t>
            </a:r>
          </a:p>
        </p:txBody>
      </p:sp>
      <p:cxnSp>
        <p:nvCxnSpPr>
          <p:cNvPr id="28" name="Straight Arrow Connector 27">
            <a:extLst>
              <a:ext uri="{FF2B5EF4-FFF2-40B4-BE49-F238E27FC236}">
                <a16:creationId xmlns:a16="http://schemas.microsoft.com/office/drawing/2014/main" id="{5E4A289D-763E-4FFD-93DC-85ED043EAB67}"/>
              </a:ext>
            </a:extLst>
          </p:cNvPr>
          <p:cNvCxnSpPr>
            <a:cxnSpLocks/>
            <a:stCxn id="25" idx="0"/>
            <a:endCxn id="24" idx="2"/>
          </p:cNvCxnSpPr>
          <p:nvPr/>
        </p:nvCxnSpPr>
        <p:spPr>
          <a:xfrm flipV="1">
            <a:off x="3563888" y="3392996"/>
            <a:ext cx="0" cy="813226"/>
          </a:xfrm>
          <a:prstGeom prst="straightConnector1">
            <a:avLst/>
          </a:prstGeom>
          <a:ln w="254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28AEB6A8-75C9-4B01-859A-EBDD1F8F6D82}"/>
              </a:ext>
            </a:extLst>
          </p:cNvPr>
          <p:cNvCxnSpPr>
            <a:cxnSpLocks/>
            <a:stCxn id="20" idx="1"/>
            <a:endCxn id="24" idx="3"/>
          </p:cNvCxnSpPr>
          <p:nvPr/>
        </p:nvCxnSpPr>
        <p:spPr>
          <a:xfrm flipH="1" flipV="1">
            <a:off x="4211960" y="3014954"/>
            <a:ext cx="936103" cy="9001"/>
          </a:xfrm>
          <a:prstGeom prst="straightConnector1">
            <a:avLst/>
          </a:prstGeom>
          <a:ln w="25400">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19DD4750-A89B-406A-A51F-8C775D3178C4}"/>
              </a:ext>
            </a:extLst>
          </p:cNvPr>
          <p:cNvSpPr/>
          <p:nvPr/>
        </p:nvSpPr>
        <p:spPr>
          <a:xfrm>
            <a:off x="2555775" y="2262006"/>
            <a:ext cx="2016222" cy="2997177"/>
          </a:xfrm>
          <a:prstGeom prst="rect">
            <a:avLst/>
          </a:prstGeom>
          <a:noFill/>
          <a:ln w="12700">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5" name="TextBox 34">
            <a:extLst>
              <a:ext uri="{FF2B5EF4-FFF2-40B4-BE49-F238E27FC236}">
                <a16:creationId xmlns:a16="http://schemas.microsoft.com/office/drawing/2014/main" id="{2A149369-F1EB-4547-B601-38BAD0EA3585}"/>
              </a:ext>
            </a:extLst>
          </p:cNvPr>
          <p:cNvSpPr txBox="1"/>
          <p:nvPr/>
        </p:nvSpPr>
        <p:spPr>
          <a:xfrm>
            <a:off x="2627783" y="2262006"/>
            <a:ext cx="1834733" cy="307777"/>
          </a:xfrm>
          <a:prstGeom prst="rect">
            <a:avLst/>
          </a:prstGeom>
          <a:noFill/>
        </p:spPr>
        <p:txBody>
          <a:bodyPr wrap="none" rtlCol="0">
            <a:spAutoFit/>
          </a:bodyPr>
          <a:lstStyle/>
          <a:p>
            <a:r>
              <a:rPr lang="en-US" sz="1400" dirty="0"/>
              <a:t>Virtualized service</a:t>
            </a:r>
          </a:p>
        </p:txBody>
      </p:sp>
    </p:spTree>
    <p:extLst>
      <p:ext uri="{BB962C8B-B14F-4D97-AF65-F5344CB8AC3E}">
        <p14:creationId xmlns:p14="http://schemas.microsoft.com/office/powerpoint/2010/main" val="28250825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039CDB-5936-4623-A3CC-DBB54503ACE3}"/>
              </a:ext>
            </a:extLst>
          </p:cNvPr>
          <p:cNvSpPr>
            <a:spLocks noGrp="1"/>
          </p:cNvSpPr>
          <p:nvPr>
            <p:ph type="title"/>
          </p:nvPr>
        </p:nvSpPr>
        <p:spPr/>
        <p:txBody>
          <a:bodyPr/>
          <a:lstStyle/>
          <a:p>
            <a:r>
              <a:rPr lang="en-US" dirty="0"/>
              <a:t>Binding in service virtualization</a:t>
            </a:r>
          </a:p>
        </p:txBody>
      </p:sp>
      <p:sp>
        <p:nvSpPr>
          <p:cNvPr id="19" name="Rectangle: Rounded Corners 18">
            <a:extLst>
              <a:ext uri="{FF2B5EF4-FFF2-40B4-BE49-F238E27FC236}">
                <a16:creationId xmlns:a16="http://schemas.microsoft.com/office/drawing/2014/main" id="{5510CF7C-E249-4BFA-9E1C-56ADD03486CC}"/>
              </a:ext>
            </a:extLst>
          </p:cNvPr>
          <p:cNvSpPr/>
          <p:nvPr/>
        </p:nvSpPr>
        <p:spPr>
          <a:xfrm>
            <a:off x="395536" y="1666315"/>
            <a:ext cx="1296144" cy="756084"/>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tx1"/>
                </a:solidFill>
              </a:rPr>
              <a:t>Application Under </a:t>
            </a:r>
          </a:p>
          <a:p>
            <a:pPr algn="ctr"/>
            <a:r>
              <a:rPr lang="pl-PL" sz="1400" dirty="0">
                <a:solidFill>
                  <a:schemeClr val="tx1"/>
                </a:solidFill>
              </a:rPr>
              <a:t>Test</a:t>
            </a:r>
            <a:endParaRPr lang="en-US" sz="1400" dirty="0">
              <a:solidFill>
                <a:schemeClr val="tx1"/>
              </a:solidFill>
            </a:endParaRPr>
          </a:p>
        </p:txBody>
      </p:sp>
      <p:sp>
        <p:nvSpPr>
          <p:cNvPr id="20" name="Rectangle: Rounded Corners 19">
            <a:extLst>
              <a:ext uri="{FF2B5EF4-FFF2-40B4-BE49-F238E27FC236}">
                <a16:creationId xmlns:a16="http://schemas.microsoft.com/office/drawing/2014/main" id="{AA686419-170E-4FC9-AE29-50256F6055EF}"/>
              </a:ext>
            </a:extLst>
          </p:cNvPr>
          <p:cNvSpPr/>
          <p:nvPr/>
        </p:nvSpPr>
        <p:spPr>
          <a:xfrm>
            <a:off x="5508104" y="1666315"/>
            <a:ext cx="1296144" cy="756084"/>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err="1">
                <a:solidFill>
                  <a:schemeClr val="tx1"/>
                </a:solidFill>
              </a:rPr>
              <a:t>WebAPI</a:t>
            </a:r>
            <a:endParaRPr lang="en-US" sz="1400" dirty="0">
              <a:solidFill>
                <a:schemeClr val="tx1"/>
              </a:solidFill>
            </a:endParaRPr>
          </a:p>
          <a:p>
            <a:pPr algn="ctr"/>
            <a:r>
              <a:rPr lang="en-US" sz="1400" dirty="0">
                <a:solidFill>
                  <a:schemeClr val="tx1"/>
                </a:solidFill>
              </a:rPr>
              <a:t>/hello</a:t>
            </a:r>
          </a:p>
        </p:txBody>
      </p:sp>
      <p:sp>
        <p:nvSpPr>
          <p:cNvPr id="21" name="Flowchart: Magnetic Disk 20">
            <a:extLst>
              <a:ext uri="{FF2B5EF4-FFF2-40B4-BE49-F238E27FC236}">
                <a16:creationId xmlns:a16="http://schemas.microsoft.com/office/drawing/2014/main" id="{4A85367D-6568-407A-9DEB-36E451DC83C0}"/>
              </a:ext>
            </a:extLst>
          </p:cNvPr>
          <p:cNvSpPr/>
          <p:nvPr/>
        </p:nvSpPr>
        <p:spPr>
          <a:xfrm>
            <a:off x="7308303" y="1566616"/>
            <a:ext cx="1152128" cy="936104"/>
          </a:xfrm>
          <a:prstGeom prst="flowChartMagneticDisk">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err="1">
                <a:solidFill>
                  <a:schemeClr val="tx1"/>
                </a:solidFill>
              </a:rPr>
              <a:t>DataBase</a:t>
            </a:r>
            <a:endParaRPr lang="en-US" sz="1400" dirty="0">
              <a:solidFill>
                <a:schemeClr val="tx1"/>
              </a:solidFill>
            </a:endParaRPr>
          </a:p>
        </p:txBody>
      </p:sp>
      <p:cxnSp>
        <p:nvCxnSpPr>
          <p:cNvPr id="22" name="Straight Arrow Connector 21">
            <a:extLst>
              <a:ext uri="{FF2B5EF4-FFF2-40B4-BE49-F238E27FC236}">
                <a16:creationId xmlns:a16="http://schemas.microsoft.com/office/drawing/2014/main" id="{36292B4B-F586-46D4-820A-A7F7E522D8F1}"/>
              </a:ext>
            </a:extLst>
          </p:cNvPr>
          <p:cNvCxnSpPr>
            <a:cxnSpLocks/>
            <a:stCxn id="19" idx="3"/>
            <a:endCxn id="24" idx="1"/>
          </p:cNvCxnSpPr>
          <p:nvPr/>
        </p:nvCxnSpPr>
        <p:spPr>
          <a:xfrm flipV="1">
            <a:off x="1691680" y="2035356"/>
            <a:ext cx="504058" cy="9001"/>
          </a:xfrm>
          <a:prstGeom prst="straightConnector1">
            <a:avLst/>
          </a:prstGeom>
          <a:ln w="254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9B7D5ABB-8690-4289-9B82-B525E09B474A}"/>
              </a:ext>
            </a:extLst>
          </p:cNvPr>
          <p:cNvCxnSpPr>
            <a:cxnSpLocks/>
            <a:stCxn id="20" idx="3"/>
            <a:endCxn id="21" idx="2"/>
          </p:cNvCxnSpPr>
          <p:nvPr/>
        </p:nvCxnSpPr>
        <p:spPr>
          <a:xfrm flipV="1">
            <a:off x="6804248" y="2034668"/>
            <a:ext cx="504055" cy="9689"/>
          </a:xfrm>
          <a:prstGeom prst="straightConnector1">
            <a:avLst/>
          </a:prstGeom>
          <a:ln w="254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Rectangle: Rounded Corners 23">
            <a:extLst>
              <a:ext uri="{FF2B5EF4-FFF2-40B4-BE49-F238E27FC236}">
                <a16:creationId xmlns:a16="http://schemas.microsoft.com/office/drawing/2014/main" id="{6FA376AF-A09E-416F-8C29-CC5C84B521C4}"/>
              </a:ext>
            </a:extLst>
          </p:cNvPr>
          <p:cNvSpPr/>
          <p:nvPr/>
        </p:nvSpPr>
        <p:spPr>
          <a:xfrm>
            <a:off x="2195738" y="1657314"/>
            <a:ext cx="1296144" cy="756084"/>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tx1"/>
                </a:solidFill>
              </a:rPr>
              <a:t>Proxy</a:t>
            </a:r>
            <a:endParaRPr lang="en-US" sz="1400" dirty="0">
              <a:solidFill>
                <a:schemeClr val="tx1"/>
              </a:solidFill>
            </a:endParaRPr>
          </a:p>
          <a:p>
            <a:pPr algn="ctr"/>
            <a:r>
              <a:rPr lang="en-US" sz="1400" dirty="0">
                <a:solidFill>
                  <a:schemeClr val="tx1"/>
                </a:solidFill>
              </a:rPr>
              <a:t>Binder*</a:t>
            </a:r>
          </a:p>
        </p:txBody>
      </p:sp>
      <p:sp>
        <p:nvSpPr>
          <p:cNvPr id="25" name="Rectangle: Rounded Corners 24">
            <a:extLst>
              <a:ext uri="{FF2B5EF4-FFF2-40B4-BE49-F238E27FC236}">
                <a16:creationId xmlns:a16="http://schemas.microsoft.com/office/drawing/2014/main" id="{A6ED222F-6F14-40CC-94AE-01FA84ABC2D8}"/>
              </a:ext>
            </a:extLst>
          </p:cNvPr>
          <p:cNvSpPr/>
          <p:nvPr/>
        </p:nvSpPr>
        <p:spPr>
          <a:xfrm>
            <a:off x="3059832" y="2731026"/>
            <a:ext cx="1296144" cy="756084"/>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Virtual assets</a:t>
            </a:r>
          </a:p>
          <a:p>
            <a:pPr algn="ctr"/>
            <a:r>
              <a:rPr lang="en-US" sz="1400" dirty="0">
                <a:solidFill>
                  <a:schemeClr val="tx1"/>
                </a:solidFill>
              </a:rPr>
              <a:t>/hello</a:t>
            </a:r>
          </a:p>
        </p:txBody>
      </p:sp>
      <p:cxnSp>
        <p:nvCxnSpPr>
          <p:cNvPr id="28" name="Straight Arrow Connector 27">
            <a:extLst>
              <a:ext uri="{FF2B5EF4-FFF2-40B4-BE49-F238E27FC236}">
                <a16:creationId xmlns:a16="http://schemas.microsoft.com/office/drawing/2014/main" id="{5E4A289D-763E-4FFD-93DC-85ED043EAB67}"/>
              </a:ext>
            </a:extLst>
          </p:cNvPr>
          <p:cNvCxnSpPr>
            <a:cxnSpLocks/>
            <a:stCxn id="25" idx="1"/>
            <a:endCxn id="24" idx="2"/>
          </p:cNvCxnSpPr>
          <p:nvPr/>
        </p:nvCxnSpPr>
        <p:spPr>
          <a:xfrm rot="10800000">
            <a:off x="2843810" y="2413398"/>
            <a:ext cx="216022" cy="695670"/>
          </a:xfrm>
          <a:prstGeom prst="bentConnector2">
            <a:avLst/>
          </a:prstGeom>
          <a:ln w="254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28AEB6A8-75C9-4B01-859A-EBDD1F8F6D82}"/>
              </a:ext>
            </a:extLst>
          </p:cNvPr>
          <p:cNvCxnSpPr>
            <a:cxnSpLocks/>
            <a:stCxn id="20" idx="1"/>
            <a:endCxn id="24" idx="3"/>
          </p:cNvCxnSpPr>
          <p:nvPr/>
        </p:nvCxnSpPr>
        <p:spPr>
          <a:xfrm flipH="1" flipV="1">
            <a:off x="3491882" y="2035356"/>
            <a:ext cx="2016222" cy="9001"/>
          </a:xfrm>
          <a:prstGeom prst="straightConnector1">
            <a:avLst/>
          </a:prstGeom>
          <a:ln w="25400">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19DD4750-A89B-406A-A51F-8C775D3178C4}"/>
              </a:ext>
            </a:extLst>
          </p:cNvPr>
          <p:cNvSpPr/>
          <p:nvPr/>
        </p:nvSpPr>
        <p:spPr>
          <a:xfrm>
            <a:off x="2051720" y="1282408"/>
            <a:ext cx="2376265" cy="3882274"/>
          </a:xfrm>
          <a:prstGeom prst="rect">
            <a:avLst/>
          </a:prstGeom>
          <a:noFill/>
          <a:ln w="12700">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5" name="TextBox 34">
            <a:extLst>
              <a:ext uri="{FF2B5EF4-FFF2-40B4-BE49-F238E27FC236}">
                <a16:creationId xmlns:a16="http://schemas.microsoft.com/office/drawing/2014/main" id="{2A149369-F1EB-4547-B601-38BAD0EA3585}"/>
              </a:ext>
            </a:extLst>
          </p:cNvPr>
          <p:cNvSpPr txBox="1"/>
          <p:nvPr/>
        </p:nvSpPr>
        <p:spPr>
          <a:xfrm>
            <a:off x="2123729" y="1282408"/>
            <a:ext cx="1834733" cy="307777"/>
          </a:xfrm>
          <a:prstGeom prst="rect">
            <a:avLst/>
          </a:prstGeom>
          <a:noFill/>
        </p:spPr>
        <p:txBody>
          <a:bodyPr wrap="none" rtlCol="0">
            <a:spAutoFit/>
          </a:bodyPr>
          <a:lstStyle/>
          <a:p>
            <a:r>
              <a:rPr lang="en-US" sz="1400" dirty="0"/>
              <a:t>Virtualized service</a:t>
            </a:r>
          </a:p>
        </p:txBody>
      </p:sp>
      <p:sp>
        <p:nvSpPr>
          <p:cNvPr id="26" name="Rectangle: Rounded Corners 25">
            <a:extLst>
              <a:ext uri="{FF2B5EF4-FFF2-40B4-BE49-F238E27FC236}">
                <a16:creationId xmlns:a16="http://schemas.microsoft.com/office/drawing/2014/main" id="{841A8932-9B29-4BA2-A558-C21156701363}"/>
              </a:ext>
            </a:extLst>
          </p:cNvPr>
          <p:cNvSpPr/>
          <p:nvPr/>
        </p:nvSpPr>
        <p:spPr>
          <a:xfrm>
            <a:off x="5508104" y="3026047"/>
            <a:ext cx="1296144" cy="756084"/>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err="1">
                <a:solidFill>
                  <a:schemeClr val="tx1"/>
                </a:solidFill>
              </a:rPr>
              <a:t>WebAPI</a:t>
            </a:r>
            <a:endParaRPr lang="en-US" sz="1400" dirty="0">
              <a:solidFill>
                <a:schemeClr val="tx1"/>
              </a:solidFill>
            </a:endParaRPr>
          </a:p>
          <a:p>
            <a:pPr algn="ctr"/>
            <a:r>
              <a:rPr lang="en-US" sz="1400" dirty="0">
                <a:solidFill>
                  <a:schemeClr val="tx1"/>
                </a:solidFill>
              </a:rPr>
              <a:t>/welcome</a:t>
            </a:r>
          </a:p>
        </p:txBody>
      </p:sp>
      <p:sp>
        <p:nvSpPr>
          <p:cNvPr id="27" name="Flowchart: Magnetic Disk 26">
            <a:extLst>
              <a:ext uri="{FF2B5EF4-FFF2-40B4-BE49-F238E27FC236}">
                <a16:creationId xmlns:a16="http://schemas.microsoft.com/office/drawing/2014/main" id="{ADBD7C4E-8346-4BAC-94B6-E9B3B37989D6}"/>
              </a:ext>
            </a:extLst>
          </p:cNvPr>
          <p:cNvSpPr/>
          <p:nvPr/>
        </p:nvSpPr>
        <p:spPr>
          <a:xfrm>
            <a:off x="7308303" y="2938761"/>
            <a:ext cx="1152128" cy="936104"/>
          </a:xfrm>
          <a:prstGeom prst="flowChartMagneticDisk">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err="1">
                <a:solidFill>
                  <a:schemeClr val="tx1"/>
                </a:solidFill>
              </a:rPr>
              <a:t>DataBase</a:t>
            </a:r>
            <a:endParaRPr lang="en-US" sz="1400" dirty="0">
              <a:solidFill>
                <a:schemeClr val="tx1"/>
              </a:solidFill>
            </a:endParaRPr>
          </a:p>
        </p:txBody>
      </p:sp>
      <p:cxnSp>
        <p:nvCxnSpPr>
          <p:cNvPr id="29" name="Straight Arrow Connector 28">
            <a:extLst>
              <a:ext uri="{FF2B5EF4-FFF2-40B4-BE49-F238E27FC236}">
                <a16:creationId xmlns:a16="http://schemas.microsoft.com/office/drawing/2014/main" id="{D0301036-A8AD-4528-B142-497C36C5E2AF}"/>
              </a:ext>
            </a:extLst>
          </p:cNvPr>
          <p:cNvCxnSpPr>
            <a:cxnSpLocks/>
            <a:stCxn id="26" idx="3"/>
            <a:endCxn id="27" idx="2"/>
          </p:cNvCxnSpPr>
          <p:nvPr/>
        </p:nvCxnSpPr>
        <p:spPr>
          <a:xfrm>
            <a:off x="6804248" y="3404089"/>
            <a:ext cx="504055" cy="2724"/>
          </a:xfrm>
          <a:prstGeom prst="straightConnector1">
            <a:avLst/>
          </a:prstGeom>
          <a:ln w="254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D35C3FE1-E905-4AC0-8E44-9E3C91E69BB8}"/>
              </a:ext>
            </a:extLst>
          </p:cNvPr>
          <p:cNvCxnSpPr>
            <a:cxnSpLocks/>
            <a:stCxn id="26" idx="1"/>
            <a:endCxn id="24" idx="3"/>
          </p:cNvCxnSpPr>
          <p:nvPr/>
        </p:nvCxnSpPr>
        <p:spPr>
          <a:xfrm rot="10800000">
            <a:off x="3491882" y="2035357"/>
            <a:ext cx="2016222" cy="1368733"/>
          </a:xfrm>
          <a:prstGeom prst="bentConnector3">
            <a:avLst>
              <a:gd name="adj1" fmla="val 33096"/>
            </a:avLst>
          </a:prstGeom>
          <a:ln w="25400">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32" name="Rectangle: Rounded Corners 31">
            <a:extLst>
              <a:ext uri="{FF2B5EF4-FFF2-40B4-BE49-F238E27FC236}">
                <a16:creationId xmlns:a16="http://schemas.microsoft.com/office/drawing/2014/main" id="{DB1A00BB-61E2-42E7-A9B4-ACC5759C6554}"/>
              </a:ext>
            </a:extLst>
          </p:cNvPr>
          <p:cNvSpPr/>
          <p:nvPr/>
        </p:nvSpPr>
        <p:spPr>
          <a:xfrm>
            <a:off x="3023829" y="3782133"/>
            <a:ext cx="1296144" cy="756084"/>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Virtual assets</a:t>
            </a:r>
          </a:p>
          <a:p>
            <a:pPr algn="ctr"/>
            <a:r>
              <a:rPr lang="en-US" sz="1400" dirty="0">
                <a:solidFill>
                  <a:schemeClr val="tx1"/>
                </a:solidFill>
              </a:rPr>
              <a:t>/welcome</a:t>
            </a:r>
          </a:p>
        </p:txBody>
      </p:sp>
      <p:cxnSp>
        <p:nvCxnSpPr>
          <p:cNvPr id="33" name="Straight Arrow Connector 32">
            <a:extLst>
              <a:ext uri="{FF2B5EF4-FFF2-40B4-BE49-F238E27FC236}">
                <a16:creationId xmlns:a16="http://schemas.microsoft.com/office/drawing/2014/main" id="{93DD0715-C692-49EF-A012-4F86BFDB5862}"/>
              </a:ext>
            </a:extLst>
          </p:cNvPr>
          <p:cNvCxnSpPr>
            <a:cxnSpLocks/>
            <a:stCxn id="32" idx="1"/>
            <a:endCxn id="24" idx="2"/>
          </p:cNvCxnSpPr>
          <p:nvPr/>
        </p:nvCxnSpPr>
        <p:spPr>
          <a:xfrm rot="10800000">
            <a:off x="2843811" y="2413399"/>
            <a:ext cx="180019" cy="1746777"/>
          </a:xfrm>
          <a:prstGeom prst="bentConnector2">
            <a:avLst/>
          </a:prstGeom>
          <a:ln w="254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BA19042E-1455-4E6F-BF98-5404491E1048}"/>
              </a:ext>
            </a:extLst>
          </p:cNvPr>
          <p:cNvSpPr txBox="1"/>
          <p:nvPr/>
        </p:nvSpPr>
        <p:spPr>
          <a:xfrm>
            <a:off x="863589" y="5882614"/>
            <a:ext cx="6732747" cy="523220"/>
          </a:xfrm>
          <a:prstGeom prst="rect">
            <a:avLst/>
          </a:prstGeom>
          <a:noFill/>
        </p:spPr>
        <p:txBody>
          <a:bodyPr wrap="square" rtlCol="0">
            <a:spAutoFit/>
          </a:bodyPr>
          <a:lstStyle/>
          <a:p>
            <a:r>
              <a:rPr lang="en-US" sz="1400" dirty="0"/>
              <a:t>*) Bind request message with either virtual asset or real endpoint </a:t>
            </a:r>
          </a:p>
          <a:p>
            <a:endParaRPr lang="en-US" sz="1400" dirty="0"/>
          </a:p>
        </p:txBody>
      </p:sp>
    </p:spTree>
    <p:extLst>
      <p:ext uri="{BB962C8B-B14F-4D97-AF65-F5344CB8AC3E}">
        <p14:creationId xmlns:p14="http://schemas.microsoft.com/office/powerpoint/2010/main" val="40141541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7" name="Group 46">
            <a:extLst>
              <a:ext uri="{FF2B5EF4-FFF2-40B4-BE49-F238E27FC236}">
                <a16:creationId xmlns:a16="http://schemas.microsoft.com/office/drawing/2014/main" id="{6CFCE977-EF76-4B8C-AFE0-3D2668E4739C}"/>
              </a:ext>
            </a:extLst>
          </p:cNvPr>
          <p:cNvGrpSpPr/>
          <p:nvPr/>
        </p:nvGrpSpPr>
        <p:grpSpPr>
          <a:xfrm>
            <a:off x="4925051" y="3729009"/>
            <a:ext cx="4471485" cy="1932239"/>
            <a:chOff x="4709027" y="3603049"/>
            <a:chExt cx="4471485" cy="1932239"/>
          </a:xfrm>
        </p:grpSpPr>
        <p:sp>
          <p:nvSpPr>
            <p:cNvPr id="45081" name="Rectangle: Rounded Corners 45080">
              <a:extLst>
                <a:ext uri="{FF2B5EF4-FFF2-40B4-BE49-F238E27FC236}">
                  <a16:creationId xmlns:a16="http://schemas.microsoft.com/office/drawing/2014/main" id="{F4280736-A277-4F54-A143-46B8EB8BD66F}"/>
                </a:ext>
              </a:extLst>
            </p:cNvPr>
            <p:cNvSpPr/>
            <p:nvPr/>
          </p:nvSpPr>
          <p:spPr>
            <a:xfrm>
              <a:off x="4709027" y="3603049"/>
              <a:ext cx="3553729" cy="1932239"/>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dirty="0">
                <a:solidFill>
                  <a:schemeClr val="tx1"/>
                </a:solidFill>
              </a:endParaRPr>
            </a:p>
          </p:txBody>
        </p:sp>
        <p:grpSp>
          <p:nvGrpSpPr>
            <p:cNvPr id="46" name="Group 45">
              <a:extLst>
                <a:ext uri="{FF2B5EF4-FFF2-40B4-BE49-F238E27FC236}">
                  <a16:creationId xmlns:a16="http://schemas.microsoft.com/office/drawing/2014/main" id="{B2EC5220-72E3-4DD9-BDB9-94A76F283BAB}"/>
                </a:ext>
              </a:extLst>
            </p:cNvPr>
            <p:cNvGrpSpPr/>
            <p:nvPr/>
          </p:nvGrpSpPr>
          <p:grpSpPr>
            <a:xfrm>
              <a:off x="4740402" y="3697822"/>
              <a:ext cx="4440110" cy="1687753"/>
              <a:chOff x="4740402" y="3697822"/>
              <a:chExt cx="4440110" cy="1687753"/>
            </a:xfrm>
          </p:grpSpPr>
          <p:sp>
            <p:nvSpPr>
              <p:cNvPr id="9" name="TextBox 8"/>
              <p:cNvSpPr txBox="1"/>
              <p:nvPr/>
            </p:nvSpPr>
            <p:spPr>
              <a:xfrm>
                <a:off x="4877804" y="4369912"/>
                <a:ext cx="4302708" cy="1015663"/>
              </a:xfrm>
              <a:prstGeom prst="rect">
                <a:avLst/>
              </a:prstGeom>
              <a:noFill/>
            </p:spPr>
            <p:txBody>
              <a:bodyPr wrap="square" rtlCol="0">
                <a:spAutoFit/>
              </a:bodyPr>
              <a:lstStyle/>
              <a:p>
                <a:pPr marL="263776" indent="-263776">
                  <a:buClr>
                    <a:srgbClr val="70AD10"/>
                  </a:buClr>
                  <a:buFont typeface="Wingdings"/>
                  <a:buChar char="§"/>
                </a:pPr>
                <a:r>
                  <a:rPr lang="en-US" sz="1200" dirty="0"/>
                  <a:t>Service is unavailable</a:t>
                </a:r>
              </a:p>
              <a:p>
                <a:pPr marL="263776" indent="-263776">
                  <a:buClr>
                    <a:srgbClr val="70AD10"/>
                  </a:buClr>
                  <a:buFont typeface="Wingdings"/>
                  <a:buChar char="§"/>
                </a:pPr>
                <a:r>
                  <a:rPr lang="en-US" sz="1200" dirty="0"/>
                  <a:t>Service under development</a:t>
                </a:r>
              </a:p>
              <a:p>
                <a:pPr marL="263776" indent="-263776">
                  <a:buClr>
                    <a:srgbClr val="70AD10"/>
                  </a:buClr>
                  <a:buFont typeface="Wingdings"/>
                  <a:buChar char="§"/>
                </a:pPr>
                <a:r>
                  <a:rPr lang="en-US" sz="1200" dirty="0"/>
                  <a:t>Simulate possible type of data served</a:t>
                </a:r>
                <a:br>
                  <a:rPr lang="en-US" sz="1200" dirty="0"/>
                </a:br>
                <a:r>
                  <a:rPr lang="en-US" sz="1200" dirty="0"/>
                  <a:t>by service</a:t>
                </a:r>
              </a:p>
              <a:p>
                <a:pPr marL="263776" indent="-263776">
                  <a:buClr>
                    <a:srgbClr val="70AD10"/>
                  </a:buClr>
                  <a:buFont typeface="Wingdings"/>
                  <a:buChar char="§"/>
                </a:pPr>
                <a:r>
                  <a:rPr lang="en-US" sz="1200" dirty="0"/>
                  <a:t>Simulate alarms from service</a:t>
                </a:r>
              </a:p>
            </p:txBody>
          </p:sp>
          <p:sp>
            <p:nvSpPr>
              <p:cNvPr id="38" name="TextBox 37">
                <a:extLst>
                  <a:ext uri="{FF2B5EF4-FFF2-40B4-BE49-F238E27FC236}">
                    <a16:creationId xmlns:a16="http://schemas.microsoft.com/office/drawing/2014/main" id="{13FFE57D-60A5-4D24-8DD3-92AFD020532C}"/>
                  </a:ext>
                </a:extLst>
              </p:cNvPr>
              <p:cNvSpPr txBox="1"/>
              <p:nvPr/>
            </p:nvSpPr>
            <p:spPr>
              <a:xfrm>
                <a:off x="4740402" y="3697822"/>
                <a:ext cx="2097049" cy="738664"/>
              </a:xfrm>
              <a:prstGeom prst="rect">
                <a:avLst/>
              </a:prstGeom>
              <a:noFill/>
            </p:spPr>
            <p:txBody>
              <a:bodyPr wrap="none" rtlCol="0">
                <a:spAutoFit/>
              </a:bodyPr>
              <a:lstStyle/>
              <a:p>
                <a:pPr algn="ctr"/>
                <a:r>
                  <a:rPr lang="en-US" sz="1400" dirty="0" err="1"/>
                  <a:t>WireMock</a:t>
                </a:r>
                <a:br>
                  <a:rPr lang="en-US" sz="1400" dirty="0"/>
                </a:br>
                <a:r>
                  <a:rPr lang="en-US" sz="1400" dirty="0"/>
                  <a:t>Service Virtualization</a:t>
                </a:r>
              </a:p>
              <a:p>
                <a:endParaRPr lang="en-US" sz="1400" dirty="0"/>
              </a:p>
            </p:txBody>
          </p:sp>
        </p:grpSp>
      </p:grpSp>
      <p:sp>
        <p:nvSpPr>
          <p:cNvPr id="2" name="Title 1"/>
          <p:cNvSpPr>
            <a:spLocks noGrp="1"/>
          </p:cNvSpPr>
          <p:nvPr>
            <p:ph type="title" idx="4294967295"/>
          </p:nvPr>
        </p:nvSpPr>
        <p:spPr>
          <a:xfrm>
            <a:off x="207649" y="279221"/>
            <a:ext cx="8261350" cy="863600"/>
          </a:xfrm>
        </p:spPr>
        <p:txBody>
          <a:bodyPr/>
          <a:lstStyle/>
          <a:p>
            <a:r>
              <a:rPr lang="en-US" dirty="0"/>
              <a:t>Service virtualization – success story</a:t>
            </a:r>
          </a:p>
        </p:txBody>
      </p:sp>
      <p:pic>
        <p:nvPicPr>
          <p:cNvPr id="45072" name="Picture 16" descr="Podobny obraz">
            <a:extLst>
              <a:ext uri="{FF2B5EF4-FFF2-40B4-BE49-F238E27FC236}">
                <a16:creationId xmlns:a16="http://schemas.microsoft.com/office/drawing/2014/main" id="{273D942C-FB91-446C-890A-B7BC6F53639C}"/>
              </a:ext>
            </a:extLst>
          </p:cNvPr>
          <p:cNvPicPr>
            <a:picLocks noChangeAspect="1" noChangeArrowheads="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5400000">
            <a:off x="5621091" y="942677"/>
            <a:ext cx="4066031" cy="2778824"/>
          </a:xfrm>
          <a:prstGeom prst="rect">
            <a:avLst/>
          </a:prstGeom>
          <a:noFill/>
          <a:extLst>
            <a:ext uri="{909E8E84-426E-40DD-AFC4-6F175D3DCCD1}">
              <a14:hiddenFill xmlns:a14="http://schemas.microsoft.com/office/drawing/2010/main">
                <a:solidFill>
                  <a:srgbClr val="FFFFFF"/>
                </a:solidFill>
              </a14:hiddenFill>
            </a:ext>
          </a:extLst>
        </p:spPr>
      </p:pic>
      <p:pic>
        <p:nvPicPr>
          <p:cNvPr id="45070" name="Picture 14" descr="Podobny obraz">
            <a:extLst>
              <a:ext uri="{FF2B5EF4-FFF2-40B4-BE49-F238E27FC236}">
                <a16:creationId xmlns:a16="http://schemas.microsoft.com/office/drawing/2014/main" id="{483579D0-A9E3-4ED1-97EC-BF9A6A92B9CA}"/>
              </a:ext>
            </a:extLst>
          </p:cNvPr>
          <p:cNvPicPr>
            <a:picLocks noChangeAspect="1" noChangeArrowheads="1"/>
          </p:cNvPicPr>
          <p:nvPr/>
        </p:nvPicPr>
        <p:blipFill>
          <a:blip r:embed="rId3">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832604" y="3234370"/>
            <a:ext cx="636395" cy="636395"/>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a:extLst>
              <a:ext uri="{FF2B5EF4-FFF2-40B4-BE49-F238E27FC236}">
                <a16:creationId xmlns:a16="http://schemas.microsoft.com/office/drawing/2014/main" id="{B1ED1F0E-8A2F-486A-8932-1FEE322FDD13}"/>
              </a:ext>
            </a:extLst>
          </p:cNvPr>
          <p:cNvSpPr/>
          <p:nvPr/>
        </p:nvSpPr>
        <p:spPr>
          <a:xfrm>
            <a:off x="6637587" y="2293714"/>
            <a:ext cx="4572000" cy="523220"/>
          </a:xfrm>
          <a:prstGeom prst="rect">
            <a:avLst/>
          </a:prstGeom>
        </p:spPr>
        <p:txBody>
          <a:bodyPr>
            <a:spAutoFit/>
          </a:bodyPr>
          <a:lstStyle/>
          <a:p>
            <a:r>
              <a:rPr lang="en-US" sz="1400" dirty="0"/>
              <a:t>Services </a:t>
            </a:r>
          </a:p>
          <a:p>
            <a:r>
              <a:rPr lang="en-US" sz="1400" dirty="0"/>
              <a:t>REST, SOAP</a:t>
            </a:r>
          </a:p>
        </p:txBody>
      </p:sp>
      <p:grpSp>
        <p:nvGrpSpPr>
          <p:cNvPr id="22" name="Group 21">
            <a:extLst>
              <a:ext uri="{FF2B5EF4-FFF2-40B4-BE49-F238E27FC236}">
                <a16:creationId xmlns:a16="http://schemas.microsoft.com/office/drawing/2014/main" id="{BC77FC66-6FFA-4806-A7DA-D2802642ACD9}"/>
              </a:ext>
            </a:extLst>
          </p:cNvPr>
          <p:cNvGrpSpPr/>
          <p:nvPr/>
        </p:nvGrpSpPr>
        <p:grpSpPr>
          <a:xfrm>
            <a:off x="179512" y="852990"/>
            <a:ext cx="1399742" cy="901770"/>
            <a:chOff x="844510" y="823845"/>
            <a:chExt cx="1399742" cy="901770"/>
          </a:xfrm>
        </p:grpSpPr>
        <p:pic>
          <p:nvPicPr>
            <p:cNvPr id="10" name="Graphic 9" descr="Users">
              <a:extLst>
                <a:ext uri="{FF2B5EF4-FFF2-40B4-BE49-F238E27FC236}">
                  <a16:creationId xmlns:a16="http://schemas.microsoft.com/office/drawing/2014/main" id="{B07C174E-8AF7-4751-8496-06C9ADB9C21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65920" y="1005535"/>
              <a:ext cx="720080" cy="720080"/>
            </a:xfrm>
            <a:prstGeom prst="rect">
              <a:avLst/>
            </a:prstGeom>
          </p:spPr>
        </p:pic>
        <p:sp>
          <p:nvSpPr>
            <p:cNvPr id="12" name="TextBox 11">
              <a:extLst>
                <a:ext uri="{FF2B5EF4-FFF2-40B4-BE49-F238E27FC236}">
                  <a16:creationId xmlns:a16="http://schemas.microsoft.com/office/drawing/2014/main" id="{22EF5FC5-358E-4EE9-80BF-A9DC10B53A16}"/>
                </a:ext>
              </a:extLst>
            </p:cNvPr>
            <p:cNvSpPr txBox="1"/>
            <p:nvPr/>
          </p:nvSpPr>
          <p:spPr>
            <a:xfrm>
              <a:off x="844510" y="823845"/>
              <a:ext cx="1399742" cy="307777"/>
            </a:xfrm>
            <a:prstGeom prst="rect">
              <a:avLst/>
            </a:prstGeom>
            <a:noFill/>
          </p:spPr>
          <p:txBody>
            <a:bodyPr wrap="none" rtlCol="0">
              <a:spAutoFit/>
            </a:bodyPr>
            <a:lstStyle/>
            <a:p>
              <a:r>
                <a:rPr lang="en-US" sz="1400" dirty="0"/>
                <a:t>QA Engineers</a:t>
              </a:r>
            </a:p>
          </p:txBody>
        </p:sp>
      </p:grpSp>
      <p:grpSp>
        <p:nvGrpSpPr>
          <p:cNvPr id="24" name="Group 23">
            <a:extLst>
              <a:ext uri="{FF2B5EF4-FFF2-40B4-BE49-F238E27FC236}">
                <a16:creationId xmlns:a16="http://schemas.microsoft.com/office/drawing/2014/main" id="{60713F55-01B1-4BEE-8B70-411944CD7032}"/>
              </a:ext>
            </a:extLst>
          </p:cNvPr>
          <p:cNvGrpSpPr/>
          <p:nvPr/>
        </p:nvGrpSpPr>
        <p:grpSpPr>
          <a:xfrm>
            <a:off x="164394" y="2871938"/>
            <a:ext cx="1510350" cy="901810"/>
            <a:chOff x="596442" y="3250034"/>
            <a:chExt cx="1510350" cy="901810"/>
          </a:xfrm>
        </p:grpSpPr>
        <p:pic>
          <p:nvPicPr>
            <p:cNvPr id="13" name="Graphic 12" descr="Users">
              <a:extLst>
                <a:ext uri="{FF2B5EF4-FFF2-40B4-BE49-F238E27FC236}">
                  <a16:creationId xmlns:a16="http://schemas.microsoft.com/office/drawing/2014/main" id="{17861617-A518-4031-96E1-812D364095F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68836" y="3429000"/>
              <a:ext cx="722844" cy="722844"/>
            </a:xfrm>
            <a:prstGeom prst="rect">
              <a:avLst/>
            </a:prstGeom>
          </p:spPr>
        </p:pic>
        <p:sp>
          <p:nvSpPr>
            <p:cNvPr id="14" name="TextBox 13">
              <a:extLst>
                <a:ext uri="{FF2B5EF4-FFF2-40B4-BE49-F238E27FC236}">
                  <a16:creationId xmlns:a16="http://schemas.microsoft.com/office/drawing/2014/main" id="{3F1BF5AC-95DA-4139-8A9E-3880312077C3}"/>
                </a:ext>
              </a:extLst>
            </p:cNvPr>
            <p:cNvSpPr txBox="1"/>
            <p:nvPr/>
          </p:nvSpPr>
          <p:spPr>
            <a:xfrm>
              <a:off x="596442" y="3250034"/>
              <a:ext cx="1510350" cy="307777"/>
            </a:xfrm>
            <a:prstGeom prst="rect">
              <a:avLst/>
            </a:prstGeom>
            <a:noFill/>
          </p:spPr>
          <p:txBody>
            <a:bodyPr wrap="none" rtlCol="0">
              <a:spAutoFit/>
            </a:bodyPr>
            <a:lstStyle/>
            <a:p>
              <a:r>
                <a:rPr lang="en-US" sz="1400" dirty="0"/>
                <a:t>DEV Engineers</a:t>
              </a:r>
            </a:p>
          </p:txBody>
        </p:sp>
      </p:grpSp>
      <p:grpSp>
        <p:nvGrpSpPr>
          <p:cNvPr id="23" name="Group 22">
            <a:extLst>
              <a:ext uri="{FF2B5EF4-FFF2-40B4-BE49-F238E27FC236}">
                <a16:creationId xmlns:a16="http://schemas.microsoft.com/office/drawing/2014/main" id="{5D4DF73A-7B33-4B85-95E9-2F72427031D1}"/>
              </a:ext>
            </a:extLst>
          </p:cNvPr>
          <p:cNvGrpSpPr/>
          <p:nvPr/>
        </p:nvGrpSpPr>
        <p:grpSpPr>
          <a:xfrm>
            <a:off x="323528" y="1719738"/>
            <a:ext cx="1743170" cy="1115142"/>
            <a:chOff x="922413" y="1788098"/>
            <a:chExt cx="1743170" cy="1115142"/>
          </a:xfrm>
        </p:grpSpPr>
        <p:pic>
          <p:nvPicPr>
            <p:cNvPr id="11" name="Graphic 10" descr="Users">
              <a:extLst>
                <a:ext uri="{FF2B5EF4-FFF2-40B4-BE49-F238E27FC236}">
                  <a16:creationId xmlns:a16="http://schemas.microsoft.com/office/drawing/2014/main" id="{8D514A77-E03B-4221-B8BF-B73A27F38D0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73810" y="2175026"/>
              <a:ext cx="728214" cy="728214"/>
            </a:xfrm>
            <a:prstGeom prst="rect">
              <a:avLst/>
            </a:prstGeom>
          </p:spPr>
        </p:pic>
        <p:sp>
          <p:nvSpPr>
            <p:cNvPr id="15" name="TextBox 14">
              <a:extLst>
                <a:ext uri="{FF2B5EF4-FFF2-40B4-BE49-F238E27FC236}">
                  <a16:creationId xmlns:a16="http://schemas.microsoft.com/office/drawing/2014/main" id="{C9792072-009E-498D-AA30-5ABEF942D9FD}"/>
                </a:ext>
              </a:extLst>
            </p:cNvPr>
            <p:cNvSpPr txBox="1"/>
            <p:nvPr/>
          </p:nvSpPr>
          <p:spPr>
            <a:xfrm>
              <a:off x="922413" y="1788098"/>
              <a:ext cx="1743170" cy="523220"/>
            </a:xfrm>
            <a:prstGeom prst="rect">
              <a:avLst/>
            </a:prstGeom>
            <a:noFill/>
          </p:spPr>
          <p:txBody>
            <a:bodyPr wrap="none" rtlCol="0">
              <a:spAutoFit/>
            </a:bodyPr>
            <a:lstStyle/>
            <a:p>
              <a:pPr algn="ctr"/>
              <a:r>
                <a:rPr lang="en-US" sz="1400" dirty="0"/>
                <a:t>Performance Test</a:t>
              </a:r>
              <a:br>
                <a:rPr lang="en-US" sz="1400" dirty="0"/>
              </a:br>
              <a:r>
                <a:rPr lang="en-US" sz="1400" dirty="0"/>
                <a:t> Engineers</a:t>
              </a:r>
            </a:p>
          </p:txBody>
        </p:sp>
      </p:grpSp>
      <p:grpSp>
        <p:nvGrpSpPr>
          <p:cNvPr id="31" name="Group 30">
            <a:extLst>
              <a:ext uri="{FF2B5EF4-FFF2-40B4-BE49-F238E27FC236}">
                <a16:creationId xmlns:a16="http://schemas.microsoft.com/office/drawing/2014/main" id="{1518E422-F355-4683-9519-707349597A19}"/>
              </a:ext>
            </a:extLst>
          </p:cNvPr>
          <p:cNvGrpSpPr/>
          <p:nvPr/>
        </p:nvGrpSpPr>
        <p:grpSpPr>
          <a:xfrm>
            <a:off x="2467427" y="1626639"/>
            <a:ext cx="1716877" cy="1821033"/>
            <a:chOff x="2735476" y="1110214"/>
            <a:chExt cx="1716877" cy="1821033"/>
          </a:xfrm>
        </p:grpSpPr>
        <p:sp>
          <p:nvSpPr>
            <p:cNvPr id="16" name="Rectangle: Rounded Corners 15">
              <a:extLst>
                <a:ext uri="{FF2B5EF4-FFF2-40B4-BE49-F238E27FC236}">
                  <a16:creationId xmlns:a16="http://schemas.microsoft.com/office/drawing/2014/main" id="{28A8D4D3-019B-4A0E-A5F9-D40CDDF59ED7}"/>
                </a:ext>
              </a:extLst>
            </p:cNvPr>
            <p:cNvSpPr/>
            <p:nvPr/>
          </p:nvSpPr>
          <p:spPr>
            <a:xfrm>
              <a:off x="2878469" y="1110214"/>
              <a:ext cx="1490214" cy="1789653"/>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pl-PL" sz="1200" dirty="0">
                  <a:solidFill>
                    <a:schemeClr val="tx1"/>
                  </a:solidFill>
                </a:rPr>
                <a:t>Application Under</a:t>
              </a:r>
              <a:r>
                <a:rPr lang="en-US" sz="1200" dirty="0">
                  <a:solidFill>
                    <a:schemeClr val="tx1"/>
                  </a:solidFill>
                </a:rPr>
                <a:t> </a:t>
              </a:r>
              <a:r>
                <a:rPr lang="pl-PL" sz="1200" dirty="0">
                  <a:solidFill>
                    <a:schemeClr val="tx1"/>
                  </a:solidFill>
                </a:rPr>
                <a:t>Test</a:t>
              </a:r>
              <a:r>
                <a:rPr lang="en-US" sz="1200" dirty="0">
                  <a:solidFill>
                    <a:schemeClr val="tx1"/>
                  </a:solidFill>
                </a:rPr>
                <a:t>/</a:t>
              </a:r>
              <a:br>
                <a:rPr lang="en-US" sz="1200" dirty="0">
                  <a:solidFill>
                    <a:schemeClr val="tx1"/>
                  </a:solidFill>
                </a:rPr>
              </a:br>
              <a:r>
                <a:rPr lang="en-US" sz="1200" dirty="0">
                  <a:solidFill>
                    <a:schemeClr val="tx1"/>
                  </a:solidFill>
                </a:rPr>
                <a:t>Development</a:t>
              </a:r>
            </a:p>
          </p:txBody>
        </p:sp>
        <p:pic>
          <p:nvPicPr>
            <p:cNvPr id="45060" name="Picture 4" descr="Znalezione obrazy dla zapytania 3rd party application icon">
              <a:extLst>
                <a:ext uri="{FF2B5EF4-FFF2-40B4-BE49-F238E27FC236}">
                  <a16:creationId xmlns:a16="http://schemas.microsoft.com/office/drawing/2014/main" id="{611445EF-9809-4802-B4C1-AE576418F82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35476" y="1790478"/>
              <a:ext cx="1716877" cy="1140769"/>
            </a:xfrm>
            <a:prstGeom prst="rect">
              <a:avLst/>
            </a:prstGeom>
            <a:noFill/>
            <a:extLst>
              <a:ext uri="{909E8E84-426E-40DD-AFC4-6F175D3DCCD1}">
                <a14:hiddenFill xmlns:a14="http://schemas.microsoft.com/office/drawing/2010/main">
                  <a:solidFill>
                    <a:srgbClr val="FFFFFF"/>
                  </a:solidFill>
                </a14:hiddenFill>
              </a:ext>
            </a:extLst>
          </p:spPr>
        </p:pic>
      </p:grpSp>
      <p:pic>
        <p:nvPicPr>
          <p:cNvPr id="45058" name="Picture 2" descr="Podobny obraz">
            <a:extLst>
              <a:ext uri="{FF2B5EF4-FFF2-40B4-BE49-F238E27FC236}">
                <a16:creationId xmlns:a16="http://schemas.microsoft.com/office/drawing/2014/main" id="{3835021F-CD6A-41CA-9EB4-70CD96CD38E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08958" y="1006878"/>
            <a:ext cx="825379" cy="791789"/>
          </a:xfrm>
          <a:prstGeom prst="rect">
            <a:avLst/>
          </a:prstGeom>
          <a:noFill/>
          <a:extLst>
            <a:ext uri="{909E8E84-426E-40DD-AFC4-6F175D3DCCD1}">
              <a14:hiddenFill xmlns:a14="http://schemas.microsoft.com/office/drawing/2010/main">
                <a:solidFill>
                  <a:srgbClr val="FFFFFF"/>
                </a:solidFill>
              </a14:hiddenFill>
            </a:ext>
          </a:extLst>
        </p:spPr>
      </p:pic>
      <p:pic>
        <p:nvPicPr>
          <p:cNvPr id="45064" name="Picture 8" descr="Podobny obraz">
            <a:extLst>
              <a:ext uri="{FF2B5EF4-FFF2-40B4-BE49-F238E27FC236}">
                <a16:creationId xmlns:a16="http://schemas.microsoft.com/office/drawing/2014/main" id="{626DAB58-93C3-4F2C-B51E-9D0366D745C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82113" y="2170950"/>
            <a:ext cx="1096504" cy="731003"/>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27">
            <a:extLst>
              <a:ext uri="{FF2B5EF4-FFF2-40B4-BE49-F238E27FC236}">
                <a16:creationId xmlns:a16="http://schemas.microsoft.com/office/drawing/2014/main" id="{BB2BD1F5-581C-489D-A437-E5E2952BA8B4}"/>
              </a:ext>
            </a:extLst>
          </p:cNvPr>
          <p:cNvSpPr/>
          <p:nvPr/>
        </p:nvSpPr>
        <p:spPr>
          <a:xfrm>
            <a:off x="6609075" y="1356823"/>
            <a:ext cx="1252266" cy="523220"/>
          </a:xfrm>
          <a:prstGeom prst="rect">
            <a:avLst/>
          </a:prstGeom>
        </p:spPr>
        <p:txBody>
          <a:bodyPr wrap="none">
            <a:spAutoFit/>
          </a:bodyPr>
          <a:lstStyle/>
          <a:p>
            <a:r>
              <a:rPr lang="en-US" sz="1400" dirty="0"/>
              <a:t>3rd party</a:t>
            </a:r>
            <a:br>
              <a:rPr lang="en-US" sz="1400" dirty="0"/>
            </a:br>
            <a:r>
              <a:rPr lang="en-US" sz="1400" dirty="0"/>
              <a:t>applications</a:t>
            </a:r>
          </a:p>
        </p:txBody>
      </p:sp>
      <p:sp>
        <p:nvSpPr>
          <p:cNvPr id="30" name="Rectangle 29">
            <a:extLst>
              <a:ext uri="{FF2B5EF4-FFF2-40B4-BE49-F238E27FC236}">
                <a16:creationId xmlns:a16="http://schemas.microsoft.com/office/drawing/2014/main" id="{0E08F217-7AF0-4BA4-9E75-22D374D6B20A}"/>
              </a:ext>
            </a:extLst>
          </p:cNvPr>
          <p:cNvSpPr/>
          <p:nvPr/>
        </p:nvSpPr>
        <p:spPr>
          <a:xfrm>
            <a:off x="6876256" y="3301735"/>
            <a:ext cx="1027845" cy="307777"/>
          </a:xfrm>
          <a:prstGeom prst="rect">
            <a:avLst/>
          </a:prstGeom>
        </p:spPr>
        <p:txBody>
          <a:bodyPr wrap="none">
            <a:spAutoFit/>
          </a:bodyPr>
          <a:lstStyle/>
          <a:p>
            <a:pPr algn="ctr"/>
            <a:r>
              <a:rPr lang="en-US" sz="1400" dirty="0"/>
              <a:t>Database</a:t>
            </a:r>
          </a:p>
        </p:txBody>
      </p:sp>
      <p:cxnSp>
        <p:nvCxnSpPr>
          <p:cNvPr id="45057" name="Straight Arrow Connector 45056">
            <a:extLst>
              <a:ext uri="{FF2B5EF4-FFF2-40B4-BE49-F238E27FC236}">
                <a16:creationId xmlns:a16="http://schemas.microsoft.com/office/drawing/2014/main" id="{7E81FE99-3AD5-467E-BD4B-A16B76A975E8}"/>
              </a:ext>
            </a:extLst>
          </p:cNvPr>
          <p:cNvCxnSpPr/>
          <p:nvPr/>
        </p:nvCxnSpPr>
        <p:spPr>
          <a:xfrm>
            <a:off x="1390316" y="1394375"/>
            <a:ext cx="1212706" cy="514965"/>
          </a:xfrm>
          <a:prstGeom prst="straightConnector1">
            <a:avLst/>
          </a:prstGeom>
          <a:ln w="38100">
            <a:solidFill>
              <a:srgbClr val="70AD10"/>
            </a:solidFill>
            <a:tailEnd type="triangle"/>
          </a:ln>
        </p:spPr>
        <p:style>
          <a:lnRef idx="3">
            <a:schemeClr val="accent6"/>
          </a:lnRef>
          <a:fillRef idx="0">
            <a:schemeClr val="accent6"/>
          </a:fillRef>
          <a:effectRef idx="2">
            <a:schemeClr val="accent6"/>
          </a:effectRef>
          <a:fontRef idx="minor">
            <a:schemeClr val="tx1"/>
          </a:fontRef>
        </p:style>
      </p:cxnSp>
      <p:cxnSp>
        <p:nvCxnSpPr>
          <p:cNvPr id="41" name="Straight Arrow Connector 40">
            <a:extLst>
              <a:ext uri="{FF2B5EF4-FFF2-40B4-BE49-F238E27FC236}">
                <a16:creationId xmlns:a16="http://schemas.microsoft.com/office/drawing/2014/main" id="{2BF338C8-75D3-4DC8-BF71-A77F8AB9B759}"/>
              </a:ext>
            </a:extLst>
          </p:cNvPr>
          <p:cNvCxnSpPr>
            <a:cxnSpLocks/>
          </p:cNvCxnSpPr>
          <p:nvPr/>
        </p:nvCxnSpPr>
        <p:spPr>
          <a:xfrm>
            <a:off x="1569187" y="2370438"/>
            <a:ext cx="1033835" cy="32394"/>
          </a:xfrm>
          <a:prstGeom prst="straightConnector1">
            <a:avLst/>
          </a:prstGeom>
          <a:ln w="38100">
            <a:solidFill>
              <a:srgbClr val="70AD10"/>
            </a:solidFill>
            <a:tailEnd type="triangle"/>
          </a:ln>
        </p:spPr>
        <p:style>
          <a:lnRef idx="3">
            <a:schemeClr val="accent6"/>
          </a:lnRef>
          <a:fillRef idx="0">
            <a:schemeClr val="accent6"/>
          </a:fillRef>
          <a:effectRef idx="2">
            <a:schemeClr val="accent6"/>
          </a:effectRef>
          <a:fontRef idx="minor">
            <a:schemeClr val="tx1"/>
          </a:fontRef>
        </p:style>
      </p:cxnSp>
      <p:cxnSp>
        <p:nvCxnSpPr>
          <p:cNvPr id="44" name="Straight Arrow Connector 43">
            <a:extLst>
              <a:ext uri="{FF2B5EF4-FFF2-40B4-BE49-F238E27FC236}">
                <a16:creationId xmlns:a16="http://schemas.microsoft.com/office/drawing/2014/main" id="{C4C91002-D1DF-4ADF-8673-86E76871BE8C}"/>
              </a:ext>
            </a:extLst>
          </p:cNvPr>
          <p:cNvCxnSpPr>
            <a:cxnSpLocks/>
          </p:cNvCxnSpPr>
          <p:nvPr/>
        </p:nvCxnSpPr>
        <p:spPr>
          <a:xfrm flipV="1">
            <a:off x="1259632" y="2901953"/>
            <a:ext cx="1343390" cy="399783"/>
          </a:xfrm>
          <a:prstGeom prst="straightConnector1">
            <a:avLst/>
          </a:prstGeom>
          <a:ln w="38100">
            <a:solidFill>
              <a:srgbClr val="70AD10"/>
            </a:solidFill>
            <a:tailEnd type="triangle"/>
          </a:ln>
        </p:spPr>
        <p:style>
          <a:lnRef idx="3">
            <a:schemeClr val="accent6"/>
          </a:lnRef>
          <a:fillRef idx="0">
            <a:schemeClr val="accent6"/>
          </a:fillRef>
          <a:effectRef idx="2">
            <a:schemeClr val="accent6"/>
          </a:effectRef>
          <a:fontRef idx="minor">
            <a:schemeClr val="tx1"/>
          </a:fontRef>
        </p:style>
      </p:cxnSp>
      <p:cxnSp>
        <p:nvCxnSpPr>
          <p:cNvPr id="48" name="Straight Arrow Connector 47">
            <a:extLst>
              <a:ext uri="{FF2B5EF4-FFF2-40B4-BE49-F238E27FC236}">
                <a16:creationId xmlns:a16="http://schemas.microsoft.com/office/drawing/2014/main" id="{A883C03E-49E7-44AB-BD3F-6DA50DE0BD95}"/>
              </a:ext>
            </a:extLst>
          </p:cNvPr>
          <p:cNvCxnSpPr>
            <a:cxnSpLocks/>
          </p:cNvCxnSpPr>
          <p:nvPr/>
        </p:nvCxnSpPr>
        <p:spPr>
          <a:xfrm flipV="1">
            <a:off x="4097431" y="1594866"/>
            <a:ext cx="2499271" cy="630717"/>
          </a:xfrm>
          <a:prstGeom prst="straightConnector1">
            <a:avLst/>
          </a:prstGeom>
          <a:ln w="38100">
            <a:solidFill>
              <a:srgbClr val="70AD10"/>
            </a:solidFill>
            <a:tailEnd type="triangle"/>
          </a:ln>
        </p:spPr>
        <p:style>
          <a:lnRef idx="3">
            <a:schemeClr val="accent6"/>
          </a:lnRef>
          <a:fillRef idx="0">
            <a:schemeClr val="accent6"/>
          </a:fillRef>
          <a:effectRef idx="2">
            <a:schemeClr val="accent6"/>
          </a:effectRef>
          <a:fontRef idx="minor">
            <a:schemeClr val="tx1"/>
          </a:fontRef>
        </p:style>
      </p:cxnSp>
      <p:cxnSp>
        <p:nvCxnSpPr>
          <p:cNvPr id="50" name="Straight Arrow Connector 49">
            <a:extLst>
              <a:ext uri="{FF2B5EF4-FFF2-40B4-BE49-F238E27FC236}">
                <a16:creationId xmlns:a16="http://schemas.microsoft.com/office/drawing/2014/main" id="{F8A885E7-9DC9-4F89-89C0-60F6843E3C97}"/>
              </a:ext>
            </a:extLst>
          </p:cNvPr>
          <p:cNvCxnSpPr>
            <a:cxnSpLocks/>
          </p:cNvCxnSpPr>
          <p:nvPr/>
        </p:nvCxnSpPr>
        <p:spPr>
          <a:xfrm>
            <a:off x="4097431" y="2497304"/>
            <a:ext cx="2555916" cy="162707"/>
          </a:xfrm>
          <a:prstGeom prst="straightConnector1">
            <a:avLst/>
          </a:prstGeom>
          <a:ln w="38100">
            <a:solidFill>
              <a:srgbClr val="70AD10"/>
            </a:solidFill>
            <a:tailEnd type="triangle"/>
          </a:ln>
        </p:spPr>
        <p:style>
          <a:lnRef idx="3">
            <a:schemeClr val="accent6"/>
          </a:lnRef>
          <a:fillRef idx="0">
            <a:schemeClr val="accent6"/>
          </a:fillRef>
          <a:effectRef idx="2">
            <a:schemeClr val="accent6"/>
          </a:effectRef>
          <a:fontRef idx="minor">
            <a:schemeClr val="tx1"/>
          </a:fontRef>
        </p:style>
      </p:cxnSp>
      <p:cxnSp>
        <p:nvCxnSpPr>
          <p:cNvPr id="53" name="Straight Arrow Connector 52">
            <a:extLst>
              <a:ext uri="{FF2B5EF4-FFF2-40B4-BE49-F238E27FC236}">
                <a16:creationId xmlns:a16="http://schemas.microsoft.com/office/drawing/2014/main" id="{34679169-FC26-49F6-BEE0-E78FD8DBCDBC}"/>
              </a:ext>
            </a:extLst>
          </p:cNvPr>
          <p:cNvCxnSpPr>
            <a:cxnSpLocks/>
          </p:cNvCxnSpPr>
          <p:nvPr/>
        </p:nvCxnSpPr>
        <p:spPr>
          <a:xfrm>
            <a:off x="4097431" y="2856145"/>
            <a:ext cx="2778825" cy="606500"/>
          </a:xfrm>
          <a:prstGeom prst="straightConnector1">
            <a:avLst/>
          </a:prstGeom>
          <a:ln w="38100">
            <a:solidFill>
              <a:srgbClr val="70AD10"/>
            </a:solidFill>
            <a:tailEnd type="triangle"/>
          </a:ln>
        </p:spPr>
        <p:style>
          <a:lnRef idx="3">
            <a:schemeClr val="accent6"/>
          </a:lnRef>
          <a:fillRef idx="0">
            <a:schemeClr val="accent6"/>
          </a:fillRef>
          <a:effectRef idx="2">
            <a:schemeClr val="accent6"/>
          </a:effectRef>
          <a:fontRef idx="minor">
            <a:schemeClr val="tx1"/>
          </a:fontRef>
        </p:style>
      </p:cxnSp>
      <p:sp>
        <p:nvSpPr>
          <p:cNvPr id="58" name="Rectangle: Rounded Corners 57">
            <a:extLst>
              <a:ext uri="{FF2B5EF4-FFF2-40B4-BE49-F238E27FC236}">
                <a16:creationId xmlns:a16="http://schemas.microsoft.com/office/drawing/2014/main" id="{4AE625DC-0709-4F0D-80D8-DDC4439F6CCD}"/>
              </a:ext>
            </a:extLst>
          </p:cNvPr>
          <p:cNvSpPr/>
          <p:nvPr/>
        </p:nvSpPr>
        <p:spPr>
          <a:xfrm>
            <a:off x="5405896" y="1626639"/>
            <a:ext cx="852611" cy="531867"/>
          </a:xfrm>
          <a:prstGeom prst="round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200" dirty="0">
                <a:solidFill>
                  <a:schemeClr val="tx1"/>
                </a:solidFill>
              </a:rPr>
              <a:t>Proxy</a:t>
            </a:r>
            <a:r>
              <a:rPr lang="en-US" sz="1200" dirty="0">
                <a:solidFill>
                  <a:schemeClr val="tx1"/>
                </a:solidFill>
              </a:rPr>
              <a:t> Binder</a:t>
            </a:r>
          </a:p>
        </p:txBody>
      </p:sp>
      <p:sp>
        <p:nvSpPr>
          <p:cNvPr id="60" name="Rectangle: Rounded Corners 59">
            <a:extLst>
              <a:ext uri="{FF2B5EF4-FFF2-40B4-BE49-F238E27FC236}">
                <a16:creationId xmlns:a16="http://schemas.microsoft.com/office/drawing/2014/main" id="{D8489AB6-86E1-4515-BF06-71AA820ED2A7}"/>
              </a:ext>
            </a:extLst>
          </p:cNvPr>
          <p:cNvSpPr/>
          <p:nvPr/>
        </p:nvSpPr>
        <p:spPr>
          <a:xfrm>
            <a:off x="4818854" y="2242958"/>
            <a:ext cx="852611" cy="531867"/>
          </a:xfrm>
          <a:prstGeom prst="round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200" dirty="0">
                <a:solidFill>
                  <a:schemeClr val="tx1"/>
                </a:solidFill>
              </a:rPr>
              <a:t>Proxy</a:t>
            </a:r>
            <a:r>
              <a:rPr lang="en-US" sz="1200" dirty="0">
                <a:solidFill>
                  <a:schemeClr val="tx1"/>
                </a:solidFill>
              </a:rPr>
              <a:t> Binder</a:t>
            </a:r>
          </a:p>
        </p:txBody>
      </p:sp>
      <p:sp>
        <p:nvSpPr>
          <p:cNvPr id="61" name="Rectangle: Rounded Corners 60">
            <a:extLst>
              <a:ext uri="{FF2B5EF4-FFF2-40B4-BE49-F238E27FC236}">
                <a16:creationId xmlns:a16="http://schemas.microsoft.com/office/drawing/2014/main" id="{DA6F72AE-09EE-4FA1-8EA8-DA1B2EED2C2B}"/>
              </a:ext>
            </a:extLst>
          </p:cNvPr>
          <p:cNvSpPr/>
          <p:nvPr/>
        </p:nvSpPr>
        <p:spPr>
          <a:xfrm>
            <a:off x="4235579" y="2849176"/>
            <a:ext cx="852611" cy="531867"/>
          </a:xfrm>
          <a:prstGeom prst="round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pl-PL" sz="1200" dirty="0">
                <a:solidFill>
                  <a:schemeClr val="tx1"/>
                </a:solidFill>
              </a:rPr>
              <a:t>Proxy</a:t>
            </a:r>
            <a:r>
              <a:rPr lang="en-US" sz="1200" dirty="0">
                <a:solidFill>
                  <a:schemeClr val="tx1"/>
                </a:solidFill>
              </a:rPr>
              <a:t> Binder</a:t>
            </a:r>
          </a:p>
        </p:txBody>
      </p:sp>
      <p:cxnSp>
        <p:nvCxnSpPr>
          <p:cNvPr id="69" name="Straight Arrow Connector 68">
            <a:extLst>
              <a:ext uri="{FF2B5EF4-FFF2-40B4-BE49-F238E27FC236}">
                <a16:creationId xmlns:a16="http://schemas.microsoft.com/office/drawing/2014/main" id="{6474C3A7-DE63-4F5A-96C2-A47047F4A071}"/>
              </a:ext>
            </a:extLst>
          </p:cNvPr>
          <p:cNvCxnSpPr>
            <a:cxnSpLocks/>
            <a:stCxn id="58" idx="2"/>
          </p:cNvCxnSpPr>
          <p:nvPr/>
        </p:nvCxnSpPr>
        <p:spPr>
          <a:xfrm>
            <a:off x="5832202" y="2158506"/>
            <a:ext cx="612525" cy="1570503"/>
          </a:xfrm>
          <a:prstGeom prst="straightConnector1">
            <a:avLst/>
          </a:prstGeom>
          <a:ln w="38100">
            <a:solidFill>
              <a:schemeClr val="tx2"/>
            </a:solidFill>
            <a:tailEnd type="triangle"/>
          </a:ln>
        </p:spPr>
        <p:style>
          <a:lnRef idx="3">
            <a:schemeClr val="accent6"/>
          </a:lnRef>
          <a:fillRef idx="0">
            <a:schemeClr val="accent6"/>
          </a:fillRef>
          <a:effectRef idx="2">
            <a:schemeClr val="accent6"/>
          </a:effectRef>
          <a:fontRef idx="minor">
            <a:schemeClr val="tx1"/>
          </a:fontRef>
        </p:style>
      </p:cxnSp>
      <p:cxnSp>
        <p:nvCxnSpPr>
          <p:cNvPr id="72" name="Straight Arrow Connector 71">
            <a:extLst>
              <a:ext uri="{FF2B5EF4-FFF2-40B4-BE49-F238E27FC236}">
                <a16:creationId xmlns:a16="http://schemas.microsoft.com/office/drawing/2014/main" id="{6118FA8D-D3FA-414A-AFD1-F56B2C400D5F}"/>
              </a:ext>
            </a:extLst>
          </p:cNvPr>
          <p:cNvCxnSpPr>
            <a:cxnSpLocks/>
            <a:stCxn id="60" idx="2"/>
          </p:cNvCxnSpPr>
          <p:nvPr/>
        </p:nvCxnSpPr>
        <p:spPr>
          <a:xfrm>
            <a:off x="5245160" y="2774825"/>
            <a:ext cx="505338" cy="954184"/>
          </a:xfrm>
          <a:prstGeom prst="straightConnector1">
            <a:avLst/>
          </a:prstGeom>
          <a:ln w="38100">
            <a:solidFill>
              <a:schemeClr val="tx2"/>
            </a:solidFill>
            <a:tailEnd type="triangle"/>
          </a:ln>
        </p:spPr>
        <p:style>
          <a:lnRef idx="3">
            <a:schemeClr val="accent6"/>
          </a:lnRef>
          <a:fillRef idx="0">
            <a:schemeClr val="accent6"/>
          </a:fillRef>
          <a:effectRef idx="2">
            <a:schemeClr val="accent6"/>
          </a:effectRef>
          <a:fontRef idx="minor">
            <a:schemeClr val="tx1"/>
          </a:fontRef>
        </p:style>
      </p:cxnSp>
      <p:cxnSp>
        <p:nvCxnSpPr>
          <p:cNvPr id="75" name="Straight Arrow Connector 74">
            <a:extLst>
              <a:ext uri="{FF2B5EF4-FFF2-40B4-BE49-F238E27FC236}">
                <a16:creationId xmlns:a16="http://schemas.microsoft.com/office/drawing/2014/main" id="{0E99E56F-2FC7-45ED-919B-6C8E82A99748}"/>
              </a:ext>
            </a:extLst>
          </p:cNvPr>
          <p:cNvCxnSpPr>
            <a:cxnSpLocks/>
            <a:stCxn id="61" idx="2"/>
          </p:cNvCxnSpPr>
          <p:nvPr/>
        </p:nvCxnSpPr>
        <p:spPr>
          <a:xfrm>
            <a:off x="4661885" y="3381043"/>
            <a:ext cx="294541" cy="531867"/>
          </a:xfrm>
          <a:prstGeom prst="straightConnector1">
            <a:avLst/>
          </a:prstGeom>
          <a:ln w="38100">
            <a:solidFill>
              <a:schemeClr val="tx2"/>
            </a:solidFill>
            <a:tailEnd type="triangle"/>
          </a:ln>
        </p:spPr>
        <p:style>
          <a:lnRef idx="3">
            <a:schemeClr val="accent6"/>
          </a:lnRef>
          <a:fillRef idx="0">
            <a:schemeClr val="accent6"/>
          </a:fillRef>
          <a:effectRef idx="2">
            <a:schemeClr val="accent6"/>
          </a:effectRef>
          <a:fontRef idx="minor">
            <a:schemeClr val="tx1"/>
          </a:fontRef>
        </p:style>
      </p:cxnSp>
      <p:pic>
        <p:nvPicPr>
          <p:cNvPr id="81" name="Picture 18" descr="Znalezione obrazy dla zapytania wiremock icon">
            <a:extLst>
              <a:ext uri="{FF2B5EF4-FFF2-40B4-BE49-F238E27FC236}">
                <a16:creationId xmlns:a16="http://schemas.microsoft.com/office/drawing/2014/main" id="{27352451-D1BF-49F3-94E9-A80F73121BA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283488" y="2738569"/>
            <a:ext cx="456914" cy="208550"/>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18" descr="Znalezione obrazy dla zapytania wiremock icon">
            <a:extLst>
              <a:ext uri="{FF2B5EF4-FFF2-40B4-BE49-F238E27FC236}">
                <a16:creationId xmlns:a16="http://schemas.microsoft.com/office/drawing/2014/main" id="{1B10770A-63EB-4870-B709-9864BD64B13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867128" y="2136470"/>
            <a:ext cx="456914" cy="208550"/>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18" descr="Znalezione obrazy dla zapytania wiremock icon">
            <a:extLst>
              <a:ext uri="{FF2B5EF4-FFF2-40B4-BE49-F238E27FC236}">
                <a16:creationId xmlns:a16="http://schemas.microsoft.com/office/drawing/2014/main" id="{5A57F774-3AF0-49A0-9BCE-84A786C5E3B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469767" y="1502920"/>
            <a:ext cx="456914" cy="208550"/>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18" descr="Znalezione obrazy dla zapytania wiremock icon">
            <a:extLst>
              <a:ext uri="{FF2B5EF4-FFF2-40B4-BE49-F238E27FC236}">
                <a16:creationId xmlns:a16="http://schemas.microsoft.com/office/drawing/2014/main" id="{9DE83452-4183-431A-9579-2527E88374E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063966" y="3606038"/>
            <a:ext cx="456914" cy="208550"/>
          </a:xfrm>
          <a:prstGeom prst="rect">
            <a:avLst/>
          </a:prstGeom>
          <a:noFill/>
          <a:extLst>
            <a:ext uri="{909E8E84-426E-40DD-AFC4-6F175D3DCCD1}">
              <a14:hiddenFill xmlns:a14="http://schemas.microsoft.com/office/drawing/2010/main">
                <a:solidFill>
                  <a:srgbClr val="FFFFFF"/>
                </a:solidFill>
              </a14:hiddenFill>
            </a:ext>
          </a:extLst>
        </p:spPr>
      </p:pic>
      <p:grpSp>
        <p:nvGrpSpPr>
          <p:cNvPr id="45" name="Group 44">
            <a:extLst>
              <a:ext uri="{FF2B5EF4-FFF2-40B4-BE49-F238E27FC236}">
                <a16:creationId xmlns:a16="http://schemas.microsoft.com/office/drawing/2014/main" id="{6D4F6365-CF2A-4A0D-BD67-25D54B8D678B}"/>
              </a:ext>
            </a:extLst>
          </p:cNvPr>
          <p:cNvGrpSpPr/>
          <p:nvPr/>
        </p:nvGrpSpPr>
        <p:grpSpPr>
          <a:xfrm>
            <a:off x="310399" y="3830634"/>
            <a:ext cx="4333609" cy="2766718"/>
            <a:chOff x="500922" y="3933056"/>
            <a:chExt cx="3951606" cy="2520130"/>
          </a:xfrm>
        </p:grpSpPr>
        <p:sp>
          <p:nvSpPr>
            <p:cNvPr id="39" name="Rectangle: Rounded Corners 38">
              <a:extLst>
                <a:ext uri="{FF2B5EF4-FFF2-40B4-BE49-F238E27FC236}">
                  <a16:creationId xmlns:a16="http://schemas.microsoft.com/office/drawing/2014/main" id="{36D9655E-3FE7-4345-BAC2-7DC67E2A9ED0}"/>
                </a:ext>
              </a:extLst>
            </p:cNvPr>
            <p:cNvSpPr/>
            <p:nvPr/>
          </p:nvSpPr>
          <p:spPr>
            <a:xfrm>
              <a:off x="500922" y="3933056"/>
              <a:ext cx="3922597" cy="252013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40" name="Picture 20" descr="https://encrypted-tbn0.gstatic.com/images?q=tbn:ANd9GcRsBqHyg56cLL9pRU7yBZreah8z2raPV4LEtvYmrzyIeoqsGiYzMQ">
              <a:extLst>
                <a:ext uri="{FF2B5EF4-FFF2-40B4-BE49-F238E27FC236}">
                  <a16:creationId xmlns:a16="http://schemas.microsoft.com/office/drawing/2014/main" id="{1B78DC15-00B9-4F97-B9FD-AAE583D5F67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23949" y="4067154"/>
              <a:ext cx="566813" cy="566813"/>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41">
              <a:extLst>
                <a:ext uri="{FF2B5EF4-FFF2-40B4-BE49-F238E27FC236}">
                  <a16:creationId xmlns:a16="http://schemas.microsoft.com/office/drawing/2014/main" id="{2025E189-276E-410C-8A44-F5AF6299F5DD}"/>
                </a:ext>
              </a:extLst>
            </p:cNvPr>
            <p:cNvSpPr txBox="1"/>
            <p:nvPr/>
          </p:nvSpPr>
          <p:spPr>
            <a:xfrm>
              <a:off x="1330706" y="4223541"/>
              <a:ext cx="1660784" cy="280346"/>
            </a:xfrm>
            <a:prstGeom prst="rect">
              <a:avLst/>
            </a:prstGeom>
            <a:noFill/>
          </p:spPr>
          <p:txBody>
            <a:bodyPr wrap="none" rtlCol="0">
              <a:spAutoFit/>
            </a:bodyPr>
            <a:lstStyle/>
            <a:p>
              <a:r>
                <a:rPr lang="en-US" sz="1400" dirty="0"/>
                <a:t>iOS Financial App</a:t>
              </a:r>
            </a:p>
          </p:txBody>
        </p:sp>
        <p:sp>
          <p:nvSpPr>
            <p:cNvPr id="43" name="TextBox 42">
              <a:extLst>
                <a:ext uri="{FF2B5EF4-FFF2-40B4-BE49-F238E27FC236}">
                  <a16:creationId xmlns:a16="http://schemas.microsoft.com/office/drawing/2014/main" id="{1424AEE8-770E-44DC-8164-DBA212F81828}"/>
                </a:ext>
              </a:extLst>
            </p:cNvPr>
            <p:cNvSpPr txBox="1"/>
            <p:nvPr/>
          </p:nvSpPr>
          <p:spPr>
            <a:xfrm>
              <a:off x="529931" y="4893967"/>
              <a:ext cx="3922597" cy="1429762"/>
            </a:xfrm>
            <a:prstGeom prst="rect">
              <a:avLst/>
            </a:prstGeom>
            <a:noFill/>
          </p:spPr>
          <p:txBody>
            <a:bodyPr wrap="square" rtlCol="0">
              <a:spAutoFit/>
            </a:bodyPr>
            <a:lstStyle/>
            <a:p>
              <a:pPr marL="285750" indent="-285750">
                <a:buClr>
                  <a:srgbClr val="70AD10"/>
                </a:buClr>
                <a:buFont typeface="Wingdings" panose="05000000000000000000" pitchFamily="2" charset="2"/>
                <a:buChar char="§"/>
              </a:pPr>
              <a:r>
                <a:rPr lang="en-US" sz="1600" dirty="0"/>
                <a:t>Enabled smoke tests with virtual backend</a:t>
              </a:r>
            </a:p>
            <a:p>
              <a:pPr marL="285750" indent="-285750">
                <a:buClr>
                  <a:srgbClr val="70AD10"/>
                </a:buClr>
                <a:buFont typeface="Wingdings" panose="05000000000000000000" pitchFamily="2" charset="2"/>
                <a:buChar char="§"/>
              </a:pPr>
              <a:r>
                <a:rPr lang="en-US" sz="1600" dirty="0"/>
                <a:t>Simulate services (</a:t>
              </a:r>
              <a:r>
                <a:rPr lang="en-US" sz="1600" b="1" dirty="0"/>
                <a:t>Summary, Login, …)</a:t>
              </a:r>
            </a:p>
            <a:p>
              <a:pPr marL="285750" indent="-285750">
                <a:buClr>
                  <a:srgbClr val="70AD10"/>
                </a:buClr>
                <a:buFont typeface="Wingdings" panose="05000000000000000000" pitchFamily="2" charset="2"/>
                <a:buChar char="§"/>
              </a:pPr>
              <a:r>
                <a:rPr lang="en-US" sz="1600" dirty="0"/>
                <a:t>Number of virtualized services - </a:t>
              </a:r>
              <a:r>
                <a:rPr lang="en-US" sz="1600" b="1" dirty="0"/>
                <a:t>xx</a:t>
              </a:r>
            </a:p>
            <a:p>
              <a:pPr marL="285750" indent="-285750">
                <a:buClr>
                  <a:srgbClr val="70AD10"/>
                </a:buClr>
                <a:buFont typeface="Wingdings" panose="05000000000000000000" pitchFamily="2" charset="2"/>
                <a:buChar char="§"/>
              </a:pPr>
              <a:r>
                <a:rPr lang="en-US" sz="1600" dirty="0"/>
                <a:t>Virtual assets along app repo</a:t>
              </a:r>
            </a:p>
          </p:txBody>
        </p:sp>
      </p:grpSp>
    </p:spTree>
    <p:extLst>
      <p:ext uri="{BB962C8B-B14F-4D97-AF65-F5344CB8AC3E}">
        <p14:creationId xmlns:p14="http://schemas.microsoft.com/office/powerpoint/2010/main" val="37311391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Global 2017">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smtClean="0"/>
        </a:defPPr>
      </a:lstStyle>
    </a:txDef>
  </a:objectDefaults>
  <a:extraClrSchemeLst/>
  <a:extLst>
    <a:ext uri="{05A4C25C-085E-4340-85A3-A5531E510DB2}">
      <thm15:themeFamily xmlns:thm15="http://schemas.microsoft.com/office/thememl/2012/main" name="Capgemini Standard Template.potx" id="{CD98B09A-7F58-41F2-9E01-4CF36809E280}" vid="{724A8382-D7B1-4D07-BEB3-949294CA1793}"/>
    </a:ext>
  </a:extLst>
</a:theme>
</file>

<file path=ppt/theme/theme2.xml><?xml version="1.0" encoding="utf-8"?>
<a:theme xmlns:a="http://schemas.openxmlformats.org/drawingml/2006/main" name="Tema do Office">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Capgemini Global 2017">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245</Words>
  <Application>Microsoft Office PowerPoint</Application>
  <PresentationFormat>On-screen Show (4:3)</PresentationFormat>
  <Paragraphs>95</Paragraphs>
  <Slides>10</Slides>
  <Notes>0</Notes>
  <HiddenSlides>1</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6" baseType="lpstr">
      <vt:lpstr>Arial</vt:lpstr>
      <vt:lpstr>Calibri</vt:lpstr>
      <vt:lpstr>Verdana</vt:lpstr>
      <vt:lpstr>Wingdings</vt:lpstr>
      <vt:lpstr>Capgemini Global 2017</vt:lpstr>
      <vt:lpstr>think-cell Slide</vt:lpstr>
      <vt:lpstr>Test pyramid</vt:lpstr>
      <vt:lpstr>Service virtualization  Success depends on proper approach</vt:lpstr>
      <vt:lpstr>Test pyramid</vt:lpstr>
      <vt:lpstr>Test framework</vt:lpstr>
      <vt:lpstr>PowerPoint Presentation</vt:lpstr>
      <vt:lpstr>Application structure with virtualized back-end </vt:lpstr>
      <vt:lpstr>PowerPoint Presentation</vt:lpstr>
      <vt:lpstr>Binding in service virtualization</vt:lpstr>
      <vt:lpstr>Service virtualization – success story</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rvice virtualization Success dependces on proper solution with right tools</dc:title>
  <dc:creator>Stefaniszyn, Lukasz</dc:creator>
  <cp:lastModifiedBy>Stefaniszyn, Lukasz</cp:lastModifiedBy>
  <cp:revision>46</cp:revision>
  <dcterms:created xsi:type="dcterms:W3CDTF">2018-02-22T06:37:46Z</dcterms:created>
  <dcterms:modified xsi:type="dcterms:W3CDTF">2018-10-17T17:12:23Z</dcterms:modified>
</cp:coreProperties>
</file>